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0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1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2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3.xml" ContentType="application/vnd.openxmlformats-officedocument.them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4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5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6.xml" ContentType="application/vnd.openxmlformats-officedocument.theme+xml"/>
  <Override PartName="/ppt/theme/themeOverride5.xml" ContentType="application/vnd.openxmlformats-officedocument.themeOverrid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7.xml" ContentType="application/vnd.openxmlformats-officedocument.them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18.xml" ContentType="application/vnd.openxmlformats-officedocument.them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0.xml" ContentType="application/vnd.openxmlformats-officedocument.them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3">
  <p:sldMasterIdLst>
    <p:sldMasterId id="2147483969" r:id="rId1"/>
    <p:sldMasterId id="2147483743" r:id="rId2"/>
    <p:sldMasterId id="2147483753" r:id="rId3"/>
    <p:sldMasterId id="2147483745" r:id="rId4"/>
    <p:sldMasterId id="2147483751" r:id="rId5"/>
    <p:sldMasterId id="2147483749" r:id="rId6"/>
    <p:sldMasterId id="2147483757" r:id="rId7"/>
    <p:sldMasterId id="2147483759" r:id="rId8"/>
    <p:sldMasterId id="2147483761" r:id="rId9"/>
    <p:sldMasterId id="2147483762" r:id="rId10"/>
    <p:sldMasterId id="2147483763" r:id="rId11"/>
    <p:sldMasterId id="2147483765" r:id="rId12"/>
    <p:sldMasterId id="2147483952" r:id="rId13"/>
    <p:sldMasterId id="2147483767" r:id="rId14"/>
    <p:sldMasterId id="2147483920" r:id="rId15"/>
    <p:sldMasterId id="2147483985" r:id="rId16"/>
    <p:sldMasterId id="2147484003" r:id="rId17"/>
    <p:sldMasterId id="2147484018" r:id="rId18"/>
    <p:sldMasterId id="2147484028" r:id="rId19"/>
    <p:sldMasterId id="2147484053" r:id="rId20"/>
  </p:sldMasterIdLst>
  <p:notesMasterIdLst>
    <p:notesMasterId r:id="rId38"/>
  </p:notesMasterIdLst>
  <p:handoutMasterIdLst>
    <p:handoutMasterId r:id="rId39"/>
  </p:handoutMasterIdLst>
  <p:sldIdLst>
    <p:sldId id="656" r:id="rId21"/>
    <p:sldId id="1546" r:id="rId22"/>
    <p:sldId id="1574" r:id="rId23"/>
    <p:sldId id="1631" r:id="rId24"/>
    <p:sldId id="524" r:id="rId25"/>
    <p:sldId id="1641" r:id="rId26"/>
    <p:sldId id="1580" r:id="rId27"/>
    <p:sldId id="1566" r:id="rId28"/>
    <p:sldId id="1633" r:id="rId29"/>
    <p:sldId id="1637" r:id="rId30"/>
    <p:sldId id="260" r:id="rId31"/>
    <p:sldId id="259" r:id="rId32"/>
    <p:sldId id="258" r:id="rId33"/>
    <p:sldId id="1556" r:id="rId34"/>
    <p:sldId id="1625" r:id="rId35"/>
    <p:sldId id="1628" r:id="rId36"/>
    <p:sldId id="1630" r:id="rId37"/>
  </p:sldIdLst>
  <p:sldSz cx="12192000" cy="6858000"/>
  <p:notesSz cx="6805613" cy="9944100"/>
  <p:defaultTextStyle>
    <a:defPPr>
      <a:defRPr lang="it-IT"/>
    </a:defPPr>
    <a:lvl1pPr algn="l" defTabSz="457200" rtl="0" fontAlgn="base">
      <a:lnSpc>
        <a:spcPts val="2600"/>
      </a:lnSpc>
      <a:spcBef>
        <a:spcPct val="0"/>
      </a:spcBef>
      <a:spcAft>
        <a:spcPct val="0"/>
      </a:spcAft>
      <a:buClr>
        <a:schemeClr val="tx2"/>
      </a:buClr>
      <a:buFont typeface="Wingdings" pitchFamily="2" charset="2"/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1pPr>
    <a:lvl2pPr marL="457200" algn="l" defTabSz="457200" rtl="0" fontAlgn="base">
      <a:lnSpc>
        <a:spcPts val="2600"/>
      </a:lnSpc>
      <a:spcBef>
        <a:spcPct val="0"/>
      </a:spcBef>
      <a:spcAft>
        <a:spcPct val="0"/>
      </a:spcAft>
      <a:buClr>
        <a:schemeClr val="tx2"/>
      </a:buClr>
      <a:buFont typeface="Wingdings" pitchFamily="2" charset="2"/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2pPr>
    <a:lvl3pPr marL="914400" algn="l" defTabSz="457200" rtl="0" fontAlgn="base">
      <a:lnSpc>
        <a:spcPts val="2600"/>
      </a:lnSpc>
      <a:spcBef>
        <a:spcPct val="0"/>
      </a:spcBef>
      <a:spcAft>
        <a:spcPct val="0"/>
      </a:spcAft>
      <a:buClr>
        <a:schemeClr val="tx2"/>
      </a:buClr>
      <a:buFont typeface="Wingdings" pitchFamily="2" charset="2"/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3pPr>
    <a:lvl4pPr marL="1371600" algn="l" defTabSz="457200" rtl="0" fontAlgn="base">
      <a:lnSpc>
        <a:spcPts val="2600"/>
      </a:lnSpc>
      <a:spcBef>
        <a:spcPct val="0"/>
      </a:spcBef>
      <a:spcAft>
        <a:spcPct val="0"/>
      </a:spcAft>
      <a:buClr>
        <a:schemeClr val="tx2"/>
      </a:buClr>
      <a:buFont typeface="Wingdings" pitchFamily="2" charset="2"/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4pPr>
    <a:lvl5pPr marL="1828800" algn="l" defTabSz="457200" rtl="0" fontAlgn="base">
      <a:lnSpc>
        <a:spcPts val="2600"/>
      </a:lnSpc>
      <a:spcBef>
        <a:spcPct val="0"/>
      </a:spcBef>
      <a:spcAft>
        <a:spcPct val="0"/>
      </a:spcAft>
      <a:buClr>
        <a:schemeClr val="tx2"/>
      </a:buClr>
      <a:buFont typeface="Wingdings" pitchFamily="2" charset="2"/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Arial Regular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CCECFF"/>
    <a:srgbClr val="339933"/>
    <a:srgbClr val="B3EBFF"/>
    <a:srgbClr val="D5F4FF"/>
    <a:srgbClr val="EEF8E4"/>
    <a:srgbClr val="D6EDBD"/>
    <a:srgbClr val="C9D1DD"/>
    <a:srgbClr val="C0C9D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22299" autoAdjust="0"/>
    <p:restoredTop sz="89063" autoAdjust="0"/>
  </p:normalViewPr>
  <p:slideViewPr>
    <p:cSldViewPr snapToGrid="0" snapToObjects="1">
      <p:cViewPr varScale="1">
        <p:scale>
          <a:sx n="112" d="100"/>
          <a:sy n="112" d="100"/>
        </p:scale>
        <p:origin x="1194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300"/>
    </p:cViewPr>
  </p:sorterViewPr>
  <p:notesViewPr>
    <p:cSldViewPr snapToGrid="0" snapToObjects="1">
      <p:cViewPr varScale="1">
        <p:scale>
          <a:sx n="82" d="100"/>
          <a:sy n="82" d="100"/>
        </p:scale>
        <p:origin x="3978" y="90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4939" y="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0A5AA42-FE6A-4197-B628-2FDE0BDAD476}" type="datetime1">
              <a:rPr lang="it-IT"/>
              <a:pPr>
                <a:defRPr/>
              </a:pPr>
              <a:t>19/01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4517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4939" y="944517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FA6E634-314E-46E8-9431-8D1F14DDE94C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292254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4939" y="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9CE3EB1-F554-4304-AA83-54EB72242122}" type="datetime1">
              <a:rPr lang="it-IT"/>
              <a:pPr>
                <a:defRPr/>
              </a:pPr>
              <a:t>19/01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pPr lvl="0"/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5171"/>
            <a:ext cx="2949100" cy="49720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9" y="4722813"/>
            <a:ext cx="5443537" cy="4475163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37174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6125"/>
            <a:ext cx="6629400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92073" y="9671247"/>
            <a:ext cx="3054008" cy="509106"/>
          </a:xfrm>
          <a:prstGeom prst="rect">
            <a:avLst/>
          </a:prstGeom>
        </p:spPr>
        <p:txBody>
          <a:bodyPr lIns="95043" tIns="47521" rIns="95043" bIns="47521"/>
          <a:lstStyle/>
          <a:p>
            <a:pPr marL="0" marR="0" lvl="0" indent="0" algn="l" defTabSz="457200" rtl="0" eaLnBrk="1" fontAlgn="base" latinLnBrk="0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Tx/>
              <a:buFont typeface="Wingdings" pitchFamily="2" charset="2"/>
              <a:buNone/>
              <a:tabLst/>
              <a:defRPr/>
            </a:pPr>
            <a:fld id="{E48269C9-3FC4-44A3-B0F6-38493FDD1E82}" type="slidenum">
              <a:rPr kumimoji="0" lang="it-IT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pPr marL="0" marR="0" lvl="0" indent="0" algn="l" defTabSz="457200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SzTx/>
                <a:buFont typeface="Wingdings" pitchFamily="2" charset="2"/>
                <a:buNone/>
                <a:tabLst/>
                <a:defRPr/>
              </a:pPr>
              <a:t>3</a:t>
            </a:fld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333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3253126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3913" y="4742376"/>
            <a:ext cx="5471291" cy="4492775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73916" y="9483017"/>
            <a:ext cx="2963617" cy="499197"/>
          </a:xfrm>
          <a:prstGeom prst="rect">
            <a:avLst/>
          </a:prstGeom>
        </p:spPr>
        <p:txBody>
          <a:bodyPr lIns="91836" tIns="45919" rIns="91836" bIns="45919"/>
          <a:lstStyle/>
          <a:p>
            <a:pPr marL="0" marR="0" lvl="0" indent="0" algn="l" defTabSz="457200" rtl="0" eaLnBrk="1" fontAlgn="base" latinLnBrk="0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Tx/>
              <a:buFont typeface="Wingdings" pitchFamily="2" charset="2"/>
              <a:buNone/>
              <a:tabLst/>
              <a:defRPr/>
            </a:pPr>
            <a:fld id="{3D6A813F-645B-4275-A6BE-0F954FAFB42F}" type="slidenum">
              <a:rPr kumimoji="0" lang="it-IT" sz="2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pPr marL="0" marR="0" lvl="0" indent="0" algn="l" defTabSz="457200" rtl="0" eaLnBrk="1" fontAlgn="base" latinLnBrk="0" hangingPunct="1">
                <a:lnSpc>
                  <a:spcPts val="26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  <a:buSzTx/>
                <a:buFont typeface="Wingdings" pitchFamily="2" charset="2"/>
                <a:buNone/>
                <a:tabLst/>
                <a:defRPr/>
              </a:pPr>
              <a:t>8</a:t>
            </a:fld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517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57385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FD4E4-0AEE-460E-B3B5-F1652792768A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0390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4984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253125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AFD4E4-0AEE-460E-B3B5-F1652792768A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559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pn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5.xml"/><Relationship Id="rId1" Type="http://schemas.openxmlformats.org/officeDocument/2006/relationships/themeOverride" Target="../theme/themeOverride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6.xml"/><Relationship Id="rId1" Type="http://schemas.openxmlformats.org/officeDocument/2006/relationships/themeOverride" Target="../theme/themeOverride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4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2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emf"/><Relationship Id="rId7" Type="http://schemas.openxmlformats.org/officeDocument/2006/relationships/image" Target="../media/image18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2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13.xml"/><Relationship Id="rId4" Type="http://schemas.openxmlformats.org/officeDocument/2006/relationships/image" Target="../media/image4.png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1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15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0.xml"/><Relationship Id="rId1" Type="http://schemas.openxmlformats.org/officeDocument/2006/relationships/themeOverride" Target="../theme/themeOverride1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085422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5132303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9F85F9D-E36D-43D8-AD15-A021A0F641F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369477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2316CC7-8660-4AF6-B211-F42D0F02A65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0716508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F0363E2-462D-49DF-928B-D3E379D73F21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59063707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D2CCD68-74B0-4B09-83D6-B7D82ACCA3DC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1855290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876EB33-01E1-42CE-8A38-BFE76426784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010624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EEC0D4-AE77-496A-BAAD-BA48B9EE628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2430176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3DE0994A-7EAB-47CC-9335-5294A73AF65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4496342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AFE119-DCFF-4FA8-85B7-CDC65A0D191A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66496441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DFEFD7A-F5F1-45E1-ADD5-0A19EA498BE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1765568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AD5D79F-B313-49EA-AB27-CFC582AEFC87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0098764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2680847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B8DF79-CA81-47C8-8532-F1A7AC92ADD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39842200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B11441-F41C-446E-BBE2-66B04698B1EC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83344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9D339A0-BBA3-43D8-BDD5-B25D82A2679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1990915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315186-610B-4D61-8948-C8177E42865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60258296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1256E03-E156-4135-81B4-98B307C3C80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85395560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6FD1449-543A-46A0-B5DF-3AD6CFF3D8C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5820582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76955B-F443-47BA-9E30-29E714E1657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3386423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8702C9-FCDA-4087-8CE6-A44EA8E0E581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9202114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13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813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88132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8133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68813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 b="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68813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ea"/>
              </a:defRPr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25C74F-AE74-4E4A-A75F-D02B8E64BB77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094368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002494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AB87BB7-CFC8-45C1-BFA1-9BDA71D0523C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95148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552" y="1679575"/>
            <a:ext cx="5490633" cy="43767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7385" y="1679575"/>
            <a:ext cx="5490633" cy="43767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8F087E-78E7-4237-8FAD-D244926D487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6522121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F3D033-92AA-4B08-AE69-9F9B71AF539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93684490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56EC0B-10B8-45E8-BC63-539076BCACD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7360051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EC4A87-ABC0-4DDB-9C31-A69D93779C1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35733902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E241B49-BC98-41A2-826F-95567FCF0D08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61924390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5B8284B-6787-42B0-A0F0-B9C7A0D9BD4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45091721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430C33D-76B0-497C-AB92-B0A37FF04E3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7581314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452439"/>
            <a:ext cx="2796117" cy="5603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9"/>
            <a:ext cx="8189383" cy="5603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CCA923-446E-418C-898F-2F108CF3F468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1374550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452438"/>
            <a:ext cx="11180233" cy="5572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63552" y="1679575"/>
            <a:ext cx="5490633" cy="4376738"/>
          </a:xfrm>
        </p:spPr>
        <p:txBody>
          <a:bodyPr/>
          <a:lstStyle/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7385" y="1679575"/>
            <a:ext cx="5490633" cy="4376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010D2DE1-5447-460E-9FEC-87367488D8FA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616540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208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2084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2085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302086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/>
          <a:lstStyle>
            <a:lvl1pPr>
              <a:lnSpc>
                <a:spcPts val="1700"/>
              </a:lnSpc>
              <a:defRPr sz="150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30208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58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758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07588" name="Immagin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7589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707590" name="Segnaposto testo 2"/>
          <p:cNvSpPr>
            <a:spLocks noGrp="1" noChangeAspect="1"/>
          </p:cNvSpPr>
          <p:nvPr>
            <p:ph type="subTitle"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70759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3730711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84262591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3105150"/>
            <a:ext cx="5488516" cy="71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1034" y="3105150"/>
            <a:ext cx="5488517" cy="71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8987091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24660000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88593885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553384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6802463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3260553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1960919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A3352E7-C20E-4F94-97F9-CCADA7E8ABA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60058026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5551" y="2130426"/>
            <a:ext cx="2794000" cy="1687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2130426"/>
            <a:ext cx="8183033" cy="16875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65126127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2130426"/>
            <a:ext cx="11180233" cy="866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9318" y="3105150"/>
            <a:ext cx="11180233" cy="712788"/>
          </a:xfrm>
        </p:spPr>
        <p:txBody>
          <a:bodyPr/>
          <a:lstStyle/>
          <a:p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06433" y="6459538"/>
            <a:ext cx="1212144" cy="114300"/>
          </a:xfrm>
        </p:spPr>
        <p:txBody>
          <a:bodyPr/>
          <a:lstStyle>
            <a:lvl1pPr>
              <a:defRPr/>
            </a:lvl1pPr>
          </a:lstStyle>
          <a:p>
            <a:r>
              <a:rPr lang="el-GR" altLang="el-GR"/>
              <a:t>01 Σεπτεμβρίου 2014 </a:t>
            </a:r>
            <a:endParaRPr lang="it-IT" altLang="el-GR" dirty="0"/>
          </a:p>
        </p:txBody>
      </p:sp>
      <p:sp>
        <p:nvSpPr>
          <p:cNvPr id="5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 marL="12700" marR="0" lvl="0" indent="0" defTabSz="914400" eaLnBrk="1" fontAlgn="auto" latinLnBrk="0" hangingPunct="1">
              <a:lnSpc>
                <a:spcPct val="96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altLang="el-GR" sz="700" b="0" i="0" u="none" strike="noStrike" kern="0" cap="none" spc="0" normalizeH="0" baseline="0" noProof="0" dirty="0">
              <a:ln>
                <a:noFill/>
              </a:ln>
              <a:solidFill>
                <a:srgbClr val="C21B17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74081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 altLang="el-GR"/>
              <a:t>01 Σεπτεμβρίου 2014 </a:t>
            </a:r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8109384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2781097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03460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4284913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8224700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606542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402837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715354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38E9F4-B600-441B-AD44-6BF94297713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22668984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9213876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7066315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896819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l-GR"/>
              <a:t>01 Σεπτεμβρίου 2014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014830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54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854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48548" name="Immagin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8549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70114"/>
            <a:ext cx="11180233" cy="8667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748550" name="Segnaposto testo 2"/>
          <p:cNvSpPr>
            <a:spLocks noGrp="1" noChangeAspect="1"/>
          </p:cNvSpPr>
          <p:nvPr>
            <p:ph type="subTitle"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AD3BED1-2ABD-4F61-9373-FAC49ED0531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29657858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14FA93-C50D-4200-963F-8C8A7CA278D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08357361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3105150"/>
            <a:ext cx="5488516" cy="71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1034" y="3105150"/>
            <a:ext cx="5488517" cy="71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424852-4120-46F5-9185-55FE40BB5117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129142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C49397B-9C67-495E-AEC3-A0C4F1179BE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20655389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FAB9806-EB87-4699-A12B-0587F8F08AD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015769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1679575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152" y="1679575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431BD25-90E4-4367-97EE-44096E2C33A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9961289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BE782B-98C8-415F-870A-59F195E74F0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84929510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41FD9B8-DF45-459F-ABFC-DC62E13F7003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78791787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4DC75B2-6F4A-4554-8EAE-A7A69F6A1A6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69339733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BF2A83-7693-44BA-B6B6-5F58399114E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081071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5551" y="2168526"/>
            <a:ext cx="2794000" cy="16494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2168526"/>
            <a:ext cx="8183033" cy="16494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544EF2B-07DC-4209-B4F9-1CEDDA584677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44572321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06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16068" name="Immagin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6069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70114"/>
            <a:ext cx="11180233" cy="866775"/>
          </a:xfrm>
        </p:spPr>
        <p:txBody>
          <a:bodyPr/>
          <a:lstStyle>
            <a:lvl1pPr>
              <a:lnSpc>
                <a:spcPts val="3200"/>
              </a:lnSpc>
              <a:defRPr sz="3300" b="1" smtClean="0">
                <a:solidFill>
                  <a:schemeClr val="tx1"/>
                </a:solidFill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16070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1607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25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4260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4261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24262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2426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Arial Regular"/>
              </a:defRPr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61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6612" name="Immagin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6613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30426"/>
            <a:ext cx="11180233" cy="866775"/>
          </a:xfrm>
        </p:spPr>
        <p:txBody>
          <a:bodyPr/>
          <a:lstStyle>
            <a:lvl1pPr>
              <a:lnSpc>
                <a:spcPts val="3500"/>
              </a:lnSpc>
              <a:defRPr sz="3300" b="1"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19661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19661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  <p:sp>
        <p:nvSpPr>
          <p:cNvPr id="19662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9662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magin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8451585" y="511079"/>
            <a:ext cx="3183467" cy="3556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8451585" y="1096050"/>
            <a:ext cx="3183467" cy="355600"/>
          </a:xfrm>
        </p:spPr>
        <p:txBody>
          <a:bodyPr/>
          <a:lstStyle>
            <a:lvl1pPr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3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 dirty="0"/>
              <a:t>01 </a:t>
            </a:r>
            <a:r>
              <a:rPr lang="en-US" altLang="el-GR" dirty="0"/>
              <a:t>September </a:t>
            </a:r>
            <a:r>
              <a:rPr lang="el-GR" altLang="el-GR" dirty="0"/>
              <a:t>2014 </a:t>
            </a:r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515827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85AD0F-FFAB-40F0-BA0D-2345D6863466}" type="slidenum">
              <a:rPr lang="it-IT" altLang="el-GR" smtClean="0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l-GR" dirty="0"/>
              <a:t>01 </a:t>
            </a:r>
            <a:r>
              <a:rPr lang="en-US" dirty="0"/>
              <a:t>September</a:t>
            </a:r>
            <a:r>
              <a:rPr lang="el-GR" dirty="0"/>
              <a:t>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it-IT" altLang="el-GR"/>
          </a:p>
        </p:txBody>
      </p:sp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 userDrawn="1"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E3AF813-1EBA-4649-A8A7-928C3D4E6FA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4335302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el-GR" altLang="el-GR" sz="20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463067" y="730606"/>
            <a:ext cx="11182248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594342A-E8DE-4F92-8BBE-B62503AA7DF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1" name="Segnaposto data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dirty="0"/>
              <a:t>01 September </a:t>
            </a:r>
            <a:r>
              <a:rPr lang="el-GR" dirty="0"/>
              <a:t>2014 </a:t>
            </a:r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747179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magin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76251" y="1224439"/>
            <a:ext cx="11176000" cy="4861256"/>
          </a:xfrm>
        </p:spPr>
        <p:txBody>
          <a:bodyPr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2E633B9-1E0B-4531-9969-1ECABE69742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5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  <p:sp>
        <p:nvSpPr>
          <p:cNvPr id="10" name="Date Placeholder 18"/>
          <p:cNvSpPr txBox="1">
            <a:spLocks/>
          </p:cNvSpPr>
          <p:nvPr userDrawn="1"/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it-IT"/>
            </a:defPPr>
            <a:lvl1pPr algn="l" defTabSz="457200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2pPr>
            <a:lvl3pPr marL="9144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3pPr>
            <a:lvl4pPr marL="13716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4pPr>
            <a:lvl5pPr marL="18288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sz="700"/>
              <a:t>November, 2014</a:t>
            </a:r>
            <a:endParaRPr lang="it-IT" sz="700" dirty="0"/>
          </a:p>
        </p:txBody>
      </p:sp>
    </p:spTree>
    <p:extLst>
      <p:ext uri="{BB962C8B-B14F-4D97-AF65-F5344CB8AC3E}">
        <p14:creationId xmlns:p14="http://schemas.microsoft.com/office/powerpoint/2010/main" val="1169638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463067" y="451877"/>
            <a:ext cx="11182248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463067" y="1070623"/>
            <a:ext cx="11182248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51" y="1682751"/>
            <a:ext cx="11188700" cy="4378325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63067" y="273559"/>
            <a:ext cx="2964165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A7BC5C8-1637-4607-AE11-1BEF62BBB1C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6" name="Segnaposto data 3"/>
          <p:cNvSpPr>
            <a:spLocks noGrp="1"/>
          </p:cNvSpPr>
          <p:nvPr>
            <p:ph type="dt" sz="half" idx="16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8127873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0024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3"/>
          <p:cNvSpPr txBox="1">
            <a:spLocks noChangeArrowheads="1"/>
          </p:cNvSpPr>
          <p:nvPr userDrawn="1"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02E633B9-1E0B-4531-9969-1ECABE69742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9" name="Date Placeholder 18"/>
          <p:cNvSpPr>
            <a:spLocks noGrp="1"/>
          </p:cNvSpPr>
          <p:nvPr>
            <p:ph type="dt" sz="half" idx="13"/>
          </p:nvPr>
        </p:nvSpPr>
        <p:spPr>
          <a:xfrm>
            <a:off x="4906434" y="6459538"/>
            <a:ext cx="1064684" cy="114300"/>
          </a:xfrm>
        </p:spPr>
        <p:txBody>
          <a:bodyPr/>
          <a:lstStyle/>
          <a:p>
            <a:pPr>
              <a:defRPr/>
            </a:pPr>
            <a:r>
              <a:rPr lang="en-US" dirty="0"/>
              <a:t>November, 201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65054160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2771596"/>
      </p:ext>
    </p:extLst>
  </p:cSld>
  <p:clrMapOvr>
    <a:masterClrMapping/>
  </p:clrMapOvr>
  <p:transition>
    <p:random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58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758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  <a:defRPr/>
            </a:pPr>
            <a:r>
              <a:rPr lang="el-GR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Αθήνα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07588" name="Immagin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7589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707590" name="Segnaposto testo 2"/>
          <p:cNvSpPr>
            <a:spLocks noGrp="1" noChangeAspect="1"/>
          </p:cNvSpPr>
          <p:nvPr>
            <p:ph type="subTitle"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70759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1799403337"/>
      </p:ext>
    </p:extLst>
  </p:cSld>
  <p:clrMapOvr>
    <a:masterClrMapping/>
  </p:clrMapOvr>
  <p:hf hdr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285321860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250600636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3105150"/>
            <a:ext cx="5488516" cy="71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1034" y="3105150"/>
            <a:ext cx="5488517" cy="712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30413962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C2B6C05-8F88-45C8-9DFA-A833364978B8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601532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135259173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11987295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170922746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401690714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372772388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398162141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5551" y="2130426"/>
            <a:ext cx="2794000" cy="16875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2130426"/>
            <a:ext cx="8183033" cy="16875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65770588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Decem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252092653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7343441"/>
      </p:ext>
    </p:extLst>
  </p:cSld>
  <p:clrMapOvr>
    <a:masterClrMapping/>
  </p:clrMapOvr>
  <p:transition>
    <p:random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463067" y="451877"/>
            <a:ext cx="11182248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463067" y="1070623"/>
            <a:ext cx="11182248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51" y="1682751"/>
            <a:ext cx="11188700" cy="4378325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63067" y="273559"/>
            <a:ext cx="2964165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A7BC5C8-1637-4607-AE11-1BEF62BBB1C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6" name="Segnaposto data 3"/>
          <p:cNvSpPr>
            <a:spLocks noGrp="1"/>
          </p:cNvSpPr>
          <p:nvPr>
            <p:ph type="dt" sz="half" idx="16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66213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B5F40A-DEAC-419C-BB1D-074B7F23FB3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27372665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9278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3"/>
          <p:cNvSpPr txBox="1">
            <a:spLocks noChangeArrowheads="1"/>
          </p:cNvSpPr>
          <p:nvPr userDrawn="1"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02E633B9-1E0B-4531-9969-1ECABE69742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9" name="Date Placeholder 18"/>
          <p:cNvSpPr>
            <a:spLocks noGrp="1"/>
          </p:cNvSpPr>
          <p:nvPr>
            <p:ph type="dt" sz="half" idx="13"/>
          </p:nvPr>
        </p:nvSpPr>
        <p:spPr>
          <a:xfrm>
            <a:off x="4906434" y="6459538"/>
            <a:ext cx="1064684" cy="114300"/>
          </a:xfrm>
        </p:spPr>
        <p:txBody>
          <a:bodyPr/>
          <a:lstStyle/>
          <a:p>
            <a:pPr>
              <a:defRPr/>
            </a:pPr>
            <a:r>
              <a:rPr lang="en-US" dirty="0"/>
              <a:t>November, 201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51111056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06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16068" name="Immagin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6069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70114"/>
            <a:ext cx="11180233" cy="866775"/>
          </a:xfrm>
        </p:spPr>
        <p:txBody>
          <a:bodyPr/>
          <a:lstStyle>
            <a:lvl1pPr>
              <a:lnSpc>
                <a:spcPts val="3200"/>
              </a:lnSpc>
              <a:defRPr sz="3300" b="1" smtClean="0">
                <a:solidFill>
                  <a:schemeClr val="tx1"/>
                </a:solidFill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16070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1607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1150516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25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4260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4261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24262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2426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Arial Regular"/>
              </a:defRPr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5976495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61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6612" name="Immagin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6613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30426"/>
            <a:ext cx="11180233" cy="866775"/>
          </a:xfrm>
        </p:spPr>
        <p:txBody>
          <a:bodyPr/>
          <a:lstStyle>
            <a:lvl1pPr>
              <a:lnSpc>
                <a:spcPts val="3500"/>
              </a:lnSpc>
              <a:defRPr sz="3300" b="1"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19661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19661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  <p:sp>
        <p:nvSpPr>
          <p:cNvPr id="19662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9662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</p:spTree>
    <p:extLst>
      <p:ext uri="{BB962C8B-B14F-4D97-AF65-F5344CB8AC3E}">
        <p14:creationId xmlns:p14="http://schemas.microsoft.com/office/powerpoint/2010/main" val="18478985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magin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8451585" y="511079"/>
            <a:ext cx="3183467" cy="3556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8451585" y="1096050"/>
            <a:ext cx="3183467" cy="355600"/>
          </a:xfrm>
        </p:spPr>
        <p:txBody>
          <a:bodyPr/>
          <a:lstStyle>
            <a:lvl1pPr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3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 dirty="0"/>
              <a:t>01 </a:t>
            </a:r>
            <a:r>
              <a:rPr lang="en-US" altLang="el-GR" dirty="0"/>
              <a:t>September </a:t>
            </a:r>
            <a:r>
              <a:rPr lang="el-GR" altLang="el-GR" dirty="0"/>
              <a:t>2014 </a:t>
            </a:r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26694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85AD0F-FFAB-40F0-BA0D-2345D6863466}" type="slidenum">
              <a:rPr lang="it-IT" altLang="el-GR" smtClean="0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l-GR" dirty="0"/>
              <a:t>01 </a:t>
            </a:r>
            <a:r>
              <a:rPr lang="en-US" dirty="0"/>
              <a:t>September</a:t>
            </a:r>
            <a:r>
              <a:rPr lang="el-GR" dirty="0"/>
              <a:t>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it-IT" altLang="el-GR"/>
          </a:p>
        </p:txBody>
      </p:sp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 userDrawn="1"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60088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el-GR" altLang="el-GR" sz="20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463067" y="730606"/>
            <a:ext cx="11182248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594342A-E8DE-4F92-8BBE-B62503AA7DF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1" name="Segnaposto data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dirty="0"/>
              <a:t>01 September </a:t>
            </a:r>
            <a:r>
              <a:rPr lang="el-GR" dirty="0"/>
              <a:t>2014 </a:t>
            </a:r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90509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magin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76251" y="1224439"/>
            <a:ext cx="11176000" cy="4861256"/>
          </a:xfrm>
        </p:spPr>
        <p:txBody>
          <a:bodyPr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2E633B9-1E0B-4531-9969-1ECABE69742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5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  <p:sp>
        <p:nvSpPr>
          <p:cNvPr id="10" name="Date Placeholder 18"/>
          <p:cNvSpPr txBox="1">
            <a:spLocks/>
          </p:cNvSpPr>
          <p:nvPr userDrawn="1"/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it-IT"/>
            </a:defPPr>
            <a:lvl1pPr algn="l" defTabSz="457200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2pPr>
            <a:lvl3pPr marL="9144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3pPr>
            <a:lvl4pPr marL="13716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4pPr>
            <a:lvl5pPr marL="18288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sz="700"/>
              <a:t>November, 2014</a:t>
            </a:r>
            <a:endParaRPr lang="it-IT" sz="700" dirty="0"/>
          </a:p>
        </p:txBody>
      </p:sp>
    </p:spTree>
    <p:extLst>
      <p:ext uri="{BB962C8B-B14F-4D97-AF65-F5344CB8AC3E}">
        <p14:creationId xmlns:p14="http://schemas.microsoft.com/office/powerpoint/2010/main" val="1785955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463067" y="451877"/>
            <a:ext cx="11182248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463067" y="1070623"/>
            <a:ext cx="11182248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51" y="1682751"/>
            <a:ext cx="11188700" cy="4378325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63067" y="273559"/>
            <a:ext cx="2964165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A7BC5C8-1637-4607-AE11-1BEF62BBB1C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6" name="Segnaposto data 3"/>
          <p:cNvSpPr>
            <a:spLocks noGrp="1"/>
          </p:cNvSpPr>
          <p:nvPr>
            <p:ph type="dt" sz="half" idx="16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52093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612839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24FA2B-1C16-492B-A121-987694017B4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63721292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75875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22DA5B-3EDF-4F88-AF2D-58D5790CB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22B18-2C65-489F-9554-48CBBED384B2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2C4F11-E3D5-4099-928E-2E11B36E2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39A0C-0E13-46A1-AA95-227B76082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7916-A74A-41AC-B716-18E657B40D9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0504326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personalizza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28438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06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069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70114"/>
            <a:ext cx="11180233" cy="866775"/>
          </a:xfrm>
        </p:spPr>
        <p:txBody>
          <a:bodyPr/>
          <a:lstStyle>
            <a:lvl1pPr>
              <a:lnSpc>
                <a:spcPts val="3200"/>
              </a:lnSpc>
              <a:defRPr sz="3300" b="1" smtClean="0">
                <a:solidFill>
                  <a:schemeClr val="tx1"/>
                </a:solidFill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16070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16074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53060393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25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261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24262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24266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Arial Regular"/>
              </a:defRPr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93222459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61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613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30426"/>
            <a:ext cx="11180233" cy="866775"/>
          </a:xfrm>
        </p:spPr>
        <p:txBody>
          <a:bodyPr/>
          <a:lstStyle>
            <a:lvl1pPr>
              <a:lnSpc>
                <a:spcPts val="3500"/>
              </a:lnSpc>
              <a:defRPr sz="3300" b="1"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19661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196616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  <p:sp>
        <p:nvSpPr>
          <p:cNvPr id="19662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9662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</p:spTree>
    <p:extLst>
      <p:ext uri="{BB962C8B-B14F-4D97-AF65-F5344CB8AC3E}">
        <p14:creationId xmlns:p14="http://schemas.microsoft.com/office/powerpoint/2010/main" val="7392781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8451585" y="511079"/>
            <a:ext cx="3183467" cy="3556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8451585" y="1096050"/>
            <a:ext cx="3183467" cy="355600"/>
          </a:xfrm>
        </p:spPr>
        <p:txBody>
          <a:bodyPr/>
          <a:lstStyle>
            <a:lvl1pPr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3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 dirty="0"/>
              <a:t>01 </a:t>
            </a:r>
            <a:r>
              <a:rPr lang="en-US" altLang="el-GR" dirty="0"/>
              <a:t>September </a:t>
            </a:r>
            <a:r>
              <a:rPr lang="el-GR" altLang="el-GR" dirty="0"/>
              <a:t>2014 </a:t>
            </a:r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2901542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85AD0F-FFAB-40F0-BA0D-2345D6863466}" type="slidenum">
              <a:rPr lang="it-IT" altLang="el-GR" smtClean="0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l-GR" dirty="0"/>
              <a:t>01 </a:t>
            </a:r>
            <a:r>
              <a:rPr lang="en-US" dirty="0"/>
              <a:t>September</a:t>
            </a:r>
            <a:r>
              <a:rPr lang="el-GR" dirty="0"/>
              <a:t>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it-IT" altLang="el-GR"/>
          </a:p>
        </p:txBody>
      </p:sp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 userDrawn="1"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27492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el-GR" altLang="el-GR" sz="20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463067" y="730606"/>
            <a:ext cx="11182248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594342A-E8DE-4F92-8BBE-B62503AA7DF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1" name="Segnaposto data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dirty="0"/>
              <a:t>01 September </a:t>
            </a:r>
            <a:r>
              <a:rPr lang="el-GR" dirty="0"/>
              <a:t>2014 </a:t>
            </a:r>
            <a:endParaRPr lang="it-IT" dirty="0"/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609856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76251" y="1224439"/>
            <a:ext cx="11176000" cy="4861256"/>
          </a:xfrm>
        </p:spPr>
        <p:txBody>
          <a:bodyPr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2E633B9-1E0B-4531-9969-1ECABE69742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9" name="Segnaposto data 3"/>
          <p:cNvSpPr>
            <a:spLocks noGrp="1"/>
          </p:cNvSpPr>
          <p:nvPr>
            <p:ph type="dt" sz="half" idx="15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  <p:sp>
        <p:nvSpPr>
          <p:cNvPr id="10" name="Date Placeholder 18"/>
          <p:cNvSpPr txBox="1">
            <a:spLocks/>
          </p:cNvSpPr>
          <p:nvPr userDrawn="1"/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it-IT"/>
            </a:defPPr>
            <a:lvl1pPr algn="l" defTabSz="457200" rt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2pPr>
            <a:lvl3pPr marL="9144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3pPr>
            <a:lvl4pPr marL="13716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4pPr>
            <a:lvl5pPr marL="1828800" algn="l" defTabSz="457200" rtl="0" fontAlgn="base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Arial Regular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sz="700"/>
              <a:t>November, 2014</a:t>
            </a:r>
            <a:endParaRPr lang="it-IT" sz="700" dirty="0"/>
          </a:p>
        </p:txBody>
      </p:sp>
    </p:spTree>
    <p:extLst>
      <p:ext uri="{BB962C8B-B14F-4D97-AF65-F5344CB8AC3E}">
        <p14:creationId xmlns:p14="http://schemas.microsoft.com/office/powerpoint/2010/main" val="2867624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A9695E-9217-44AE-A77A-EA9F57D6B92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00049583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463067" y="451877"/>
            <a:ext cx="11182248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463067" y="1070623"/>
            <a:ext cx="11182248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51" y="1682751"/>
            <a:ext cx="11188700" cy="4378325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63067" y="273559"/>
            <a:ext cx="2964165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A7BC5C8-1637-4607-AE11-1BEF62BBB1C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6" name="Segnaposto data 3"/>
          <p:cNvSpPr>
            <a:spLocks noGrp="1"/>
          </p:cNvSpPr>
          <p:nvPr>
            <p:ph type="dt" sz="half" idx="16"/>
          </p:nvPr>
        </p:nvSpPr>
        <p:spPr>
          <a:xfrm>
            <a:off x="4762500" y="6459537"/>
            <a:ext cx="1518557" cy="115888"/>
          </a:xfrm>
        </p:spPr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 dirty="0"/>
              <a:t>19, 26 Νοεμβρίου </a:t>
            </a:r>
            <a:r>
              <a:rPr lang="en-US" dirty="0"/>
              <a:t> 2014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0911069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8248164"/>
      </p:ext>
    </p:extLst>
  </p:cSld>
  <p:clrMapOvr>
    <a:masterClrMapping/>
  </p:clrMapOvr>
  <p:transition>
    <p:random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 preferRelativeResize="0">
            <a:picLocks/>
          </p:cNvPicPr>
          <p:nvPr userDrawn="1"/>
        </p:nvPicPr>
        <p:blipFill>
          <a:blip r:embed="rId2"/>
          <a:srcRect r="21049"/>
          <a:stretch>
            <a:fillRect/>
          </a:stretch>
        </p:blipFill>
        <p:spPr bwMode="auto">
          <a:xfrm>
            <a:off x="0" y="0"/>
            <a:ext cx="26458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80000" y="2124000"/>
            <a:ext cx="11182248" cy="864000"/>
          </a:xfrm>
        </p:spPr>
        <p:txBody>
          <a:bodyPr/>
          <a:lstStyle>
            <a:lvl1pPr>
              <a:lnSpc>
                <a:spcPts val="4667"/>
              </a:lnSpc>
              <a:defRPr sz="4400" b="1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80000" y="3095999"/>
            <a:ext cx="11182248" cy="720000"/>
          </a:xfrm>
        </p:spPr>
        <p:txBody>
          <a:bodyPr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667" baseline="0">
                <a:solidFill>
                  <a:schemeClr val="bg1">
                    <a:lumMod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6910228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480000" y="541867"/>
            <a:ext cx="11182248" cy="753533"/>
          </a:xfr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480000" y="3095999"/>
            <a:ext cx="11182248" cy="720000"/>
          </a:xfrm>
        </p:spPr>
        <p:txBody>
          <a:bodyPr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667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80000" y="2124000"/>
            <a:ext cx="11182248" cy="864000"/>
          </a:xfrm>
        </p:spPr>
        <p:txBody>
          <a:bodyPr/>
          <a:lstStyle>
            <a:lvl1pPr>
              <a:lnSpc>
                <a:spcPts val="4667"/>
              </a:lnSpc>
              <a:defRPr sz="4400" b="1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A15594F-FB44-44C9-87AA-AA5F331CEF32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99755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381001" y="423334"/>
            <a:ext cx="1824567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2667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en-US" altLang="en-US" sz="2667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80000" y="1224439"/>
            <a:ext cx="11184000" cy="4861256"/>
          </a:xfrm>
        </p:spPr>
        <p:txBody>
          <a:bodyPr numCol="2" spcCol="216000">
            <a:noAutofit/>
          </a:bodyPr>
          <a:lstStyle>
            <a:lvl1pPr marL="228594" indent="-2285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600" b="1" i="0" baseline="0"/>
            </a:lvl1pPr>
            <a:lvl2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600" baseline="0"/>
            </a:lvl2pPr>
            <a:lvl3pPr marL="719982" indent="-2399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600" baseline="0"/>
            </a:lvl3pPr>
            <a:lvl4pPr marL="979176" indent="-2399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600" baseline="0"/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SzPct val="60000"/>
              <a:defRPr sz="1600" baseline="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21E4636-526E-4BFF-88F1-11D3DDB2514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object 3"/>
          <p:cNvSpPr txBox="1"/>
          <p:nvPr userDrawn="1"/>
        </p:nvSpPr>
        <p:spPr>
          <a:xfrm>
            <a:off x="391961" y="6459985"/>
            <a:ext cx="2636247" cy="261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933" marR="0" indent="0" algn="l" defTabSz="609585" rtl="0" eaLnBrk="1" fontAlgn="auto" latinLnBrk="0" hangingPunct="1">
              <a:lnSpc>
                <a:spcPct val="95825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 spc="0" dirty="0">
                <a:solidFill>
                  <a:schemeClr val="tx2"/>
                </a:solidFill>
                <a:latin typeface="Arial"/>
                <a:cs typeface="Arial"/>
              </a:rPr>
              <a:t>© </a:t>
            </a:r>
            <a:r>
              <a:rPr lang="en-GB" sz="933" spc="0" baseline="0" dirty="0">
                <a:solidFill>
                  <a:schemeClr val="tx2"/>
                </a:solidFill>
                <a:latin typeface="Arial"/>
                <a:cs typeface="Arial"/>
              </a:rPr>
              <a:t>Assicurazioni Generali</a:t>
            </a:r>
            <a:endParaRPr lang="en-GB" sz="933" dirty="0">
              <a:solidFill>
                <a:schemeClr val="tx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829806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of the D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80484" y="696914"/>
            <a:ext cx="4593792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en-GB" altLang="en-US" sz="2667" noProof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genda of the Day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80000" y="1224439"/>
            <a:ext cx="11184000" cy="4861256"/>
          </a:xfrm>
        </p:spPr>
        <p:txBody>
          <a:bodyPr numCol="2" spcCol="216000">
            <a:noAutofit/>
          </a:bodyPr>
          <a:lstStyle>
            <a:lvl1pPr marL="228594" indent="-2285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600" b="1" i="0" baseline="0"/>
            </a:lvl1pPr>
            <a:lvl2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600" baseline="0"/>
            </a:lvl2pPr>
            <a:lvl3pPr marL="719982" indent="-2399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600" baseline="0"/>
            </a:lvl3pPr>
            <a:lvl4pPr marL="979176" indent="-2399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600" baseline="0"/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SzPct val="60000"/>
              <a:defRPr sz="1600" baseline="0"/>
            </a:lvl5pPr>
          </a:lstStyle>
          <a:p>
            <a:pPr lvl="0"/>
            <a:r>
              <a:rPr lang="en-GB" noProof="0" dirty="0"/>
              <a:t>Fare </a:t>
            </a:r>
            <a:r>
              <a:rPr lang="en-GB" noProof="0" dirty="0" err="1"/>
              <a:t>clic</a:t>
            </a:r>
            <a:r>
              <a:rPr lang="en-GB" noProof="0" dirty="0"/>
              <a:t> per </a:t>
            </a:r>
            <a:r>
              <a:rPr lang="en-GB" noProof="0" dirty="0" err="1"/>
              <a:t>modificare</a:t>
            </a:r>
            <a:r>
              <a:rPr lang="en-GB" noProof="0" dirty="0"/>
              <a:t> </a:t>
            </a:r>
            <a:r>
              <a:rPr lang="en-GB" noProof="0" dirty="0" err="1"/>
              <a:t>stili</a:t>
            </a:r>
            <a:r>
              <a:rPr lang="en-GB" noProof="0" dirty="0"/>
              <a:t> del </a:t>
            </a:r>
            <a:r>
              <a:rPr lang="en-GB" noProof="0" dirty="0" err="1"/>
              <a:t>testo</a:t>
            </a:r>
            <a:r>
              <a:rPr lang="en-GB" noProof="0" dirty="0"/>
              <a:t> </a:t>
            </a:r>
            <a:r>
              <a:rPr lang="en-GB" noProof="0" dirty="0" err="1"/>
              <a:t>dello</a:t>
            </a:r>
            <a:r>
              <a:rPr lang="en-GB" noProof="0" dirty="0"/>
              <a:t> schema</a:t>
            </a:r>
          </a:p>
          <a:p>
            <a:pPr lvl="1"/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2"/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3"/>
            <a:r>
              <a:rPr lang="en-GB" noProof="0" dirty="0"/>
              <a:t>Quarto </a:t>
            </a:r>
            <a:r>
              <a:rPr lang="en-GB" noProof="0" dirty="0" err="1"/>
              <a:t>livello</a:t>
            </a:r>
            <a:endParaRPr lang="en-GB" noProof="0" dirty="0"/>
          </a:p>
          <a:p>
            <a:pPr lvl="4"/>
            <a:r>
              <a:rPr lang="en-GB" noProof="0" dirty="0" err="1"/>
              <a:t>Quint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endParaRPr lang="en-GB" noProof="0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21E4636-526E-4BFF-88F1-11D3DDB25144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8738844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80486" y="696914"/>
            <a:ext cx="1824567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2667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pendix</a:t>
            </a:r>
            <a:endParaRPr lang="en-US" altLang="en-US" sz="2667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80000" y="1224439"/>
            <a:ext cx="11184000" cy="4861256"/>
          </a:xfrm>
        </p:spPr>
        <p:txBody>
          <a:bodyPr numCol="2" spcCol="216000">
            <a:noAutofit/>
          </a:bodyPr>
          <a:lstStyle>
            <a:lvl1pPr marL="228594" indent="-2285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600" b="1" i="0" baseline="0"/>
            </a:lvl1pPr>
            <a:lvl2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600" baseline="0"/>
            </a:lvl2pPr>
            <a:lvl3pPr marL="719982" indent="-2399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600" baseline="0"/>
            </a:lvl3pPr>
            <a:lvl4pPr marL="979176" indent="-239994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600" baseline="0"/>
            </a:lvl4pPr>
            <a:lvl5pPr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SzPct val="60000"/>
              <a:defRPr sz="1600" baseline="0"/>
            </a:lvl5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21E4636-526E-4BFF-88F1-11D3DDB25144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282495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80486" y="696914"/>
            <a:ext cx="1824567" cy="2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2667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isclaimer</a:t>
            </a:r>
            <a:endParaRPr lang="en-US" altLang="en-US" sz="2667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21E4636-526E-4BFF-88F1-11D3DDB2514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80484" y="1620000"/>
            <a:ext cx="11184467" cy="4536000"/>
          </a:xfrm>
        </p:spPr>
        <p:txBody>
          <a:bodyPr/>
          <a:lstStyle>
            <a:lvl1pPr>
              <a:lnSpc>
                <a:spcPct val="120000"/>
              </a:lnSpc>
              <a:spcBef>
                <a:spcPts val="800"/>
              </a:spcBef>
              <a:defRPr sz="1867"/>
            </a:lvl1pPr>
            <a:lvl2pPr>
              <a:lnSpc>
                <a:spcPct val="120000"/>
              </a:lnSpc>
              <a:spcBef>
                <a:spcPts val="800"/>
              </a:spcBef>
              <a:defRPr sz="1867"/>
            </a:lvl2pPr>
            <a:lvl3pPr>
              <a:lnSpc>
                <a:spcPct val="120000"/>
              </a:lnSpc>
              <a:spcBef>
                <a:spcPts val="800"/>
              </a:spcBef>
              <a:defRPr sz="1867"/>
            </a:lvl3pPr>
            <a:lvl4pPr>
              <a:lnSpc>
                <a:spcPct val="120000"/>
              </a:lnSpc>
              <a:spcBef>
                <a:spcPts val="800"/>
              </a:spcBef>
              <a:defRPr sz="1867"/>
            </a:lvl4pPr>
            <a:lvl5pPr>
              <a:lnSpc>
                <a:spcPct val="120000"/>
              </a:lnSpc>
              <a:spcBef>
                <a:spcPts val="800"/>
              </a:spcBef>
              <a:defRPr sz="1867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37967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Slide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480000" y="1249333"/>
            <a:ext cx="11182248" cy="468000"/>
          </a:xfrm>
        </p:spPr>
        <p:txBody>
          <a:bodyPr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133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  <a:endParaRPr lang="it-IT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80000" y="252001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Segnaposto contenuto 2"/>
          <p:cNvSpPr>
            <a:spLocks noGrp="1"/>
          </p:cNvSpPr>
          <p:nvPr>
            <p:ph sz="quarter" idx="15"/>
          </p:nvPr>
        </p:nvSpPr>
        <p:spPr>
          <a:xfrm>
            <a:off x="480000" y="1904999"/>
            <a:ext cx="11184000" cy="4178999"/>
          </a:xfrm>
        </p:spPr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6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D7DCE83-1600-4580-9AA7-BB9046FAE4AD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McK 2. Slide Title"/>
          <p:cNvSpPr>
            <a:spLocks noGrp="1"/>
          </p:cNvSpPr>
          <p:nvPr>
            <p:ph type="title"/>
          </p:nvPr>
        </p:nvSpPr>
        <p:spPr>
          <a:xfrm>
            <a:off x="480000" y="533400"/>
            <a:ext cx="11184000" cy="702733"/>
          </a:xfrm>
        </p:spPr>
        <p:txBody>
          <a:bodyPr/>
          <a:lstStyle>
            <a:lvl1pPr marL="0" indent="0" algn="l" defTabSz="609585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lang="en-US" sz="2667" b="0" i="0" kern="1200" baseline="0" dirty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12880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 + Item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79999" y="1691999"/>
            <a:ext cx="5520000" cy="4392000"/>
          </a:xfrm>
        </p:spPr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80000" y="252001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Segnaposto contenuto 2"/>
          <p:cNvSpPr>
            <a:spLocks noGrp="1"/>
          </p:cNvSpPr>
          <p:nvPr>
            <p:ph sz="quarter" idx="17"/>
          </p:nvPr>
        </p:nvSpPr>
        <p:spPr>
          <a:xfrm>
            <a:off x="6142248" y="1691999"/>
            <a:ext cx="5520000" cy="4392000"/>
          </a:xfrm>
        </p:spPr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8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F629797-E7A3-4981-8C31-7EBE0FEBF339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480000" y="1249333"/>
            <a:ext cx="11182248" cy="468000"/>
          </a:xfrm>
        </p:spPr>
        <p:txBody>
          <a:bodyPr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133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  <a:endParaRPr lang="it-IT" dirty="0"/>
          </a:p>
        </p:txBody>
      </p:sp>
      <p:sp>
        <p:nvSpPr>
          <p:cNvPr id="10" name="McK 2. Slide Title"/>
          <p:cNvSpPr>
            <a:spLocks noGrp="1"/>
          </p:cNvSpPr>
          <p:nvPr>
            <p:ph type="title"/>
          </p:nvPr>
        </p:nvSpPr>
        <p:spPr>
          <a:xfrm>
            <a:off x="480000" y="533400"/>
            <a:ext cx="11184000" cy="702733"/>
          </a:xfrm>
        </p:spPr>
        <p:txBody>
          <a:bodyPr/>
          <a:lstStyle>
            <a:lvl1pPr marL="0" indent="0" algn="l" defTabSz="609585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lang="en-US" sz="2667" b="0" i="0" kern="1200" baseline="0" dirty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04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25A0CC-0D61-40F0-A29E-CCBA517F35D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14912198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harts + Tables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egnaposto grafico 17"/>
          <p:cNvSpPr>
            <a:spLocks noGrp="1"/>
          </p:cNvSpPr>
          <p:nvPr>
            <p:ph type="chart" sz="quarter" idx="17"/>
          </p:nvPr>
        </p:nvSpPr>
        <p:spPr>
          <a:xfrm>
            <a:off x="6144000" y="1692000"/>
            <a:ext cx="5520000" cy="2052000"/>
          </a:xfrm>
        </p:spPr>
        <p:txBody>
          <a:bodyPr rtlCol="0">
            <a:noAutofit/>
          </a:bodyPr>
          <a:lstStyle/>
          <a:p>
            <a:pPr lvl="0"/>
            <a:r>
              <a:rPr lang="it-IT" noProof="0"/>
              <a:t>Fare clic sull'icona per inserire un grafico</a:t>
            </a:r>
          </a:p>
        </p:txBody>
      </p:sp>
      <p:sp>
        <p:nvSpPr>
          <p:cNvPr id="24" name="Segnaposto tabella 2"/>
          <p:cNvSpPr>
            <a:spLocks noGrp="1"/>
          </p:cNvSpPr>
          <p:nvPr>
            <p:ph type="tbl" sz="quarter" idx="21"/>
          </p:nvPr>
        </p:nvSpPr>
        <p:spPr>
          <a:xfrm>
            <a:off x="6144000" y="4032000"/>
            <a:ext cx="5520000" cy="2052000"/>
          </a:xfrm>
        </p:spPr>
        <p:txBody>
          <a:bodyPr rtlCol="0">
            <a:noAutofit/>
          </a:bodyPr>
          <a:lstStyle/>
          <a:p>
            <a:pPr lvl="0"/>
            <a:r>
              <a:rPr lang="it-IT" noProof="0" dirty="0"/>
              <a:t>Fare clic sull'icona per inserire una tabella</a:t>
            </a:r>
          </a:p>
        </p:txBody>
      </p:sp>
      <p:sp>
        <p:nvSpPr>
          <p:cNvPr id="25" name="Segnaposto grafico 17"/>
          <p:cNvSpPr>
            <a:spLocks noGrp="1"/>
          </p:cNvSpPr>
          <p:nvPr>
            <p:ph type="chart" sz="quarter" idx="22"/>
          </p:nvPr>
        </p:nvSpPr>
        <p:spPr>
          <a:xfrm>
            <a:off x="479999" y="1692000"/>
            <a:ext cx="5520000" cy="2052000"/>
          </a:xfrm>
        </p:spPr>
        <p:txBody>
          <a:bodyPr rtlCol="0">
            <a:noAutofit/>
          </a:bodyPr>
          <a:lstStyle/>
          <a:p>
            <a:pPr lvl="0"/>
            <a:r>
              <a:rPr lang="it-IT" noProof="0" dirty="0"/>
              <a:t>Fare clic sull'icona per inserire un grafico</a:t>
            </a:r>
          </a:p>
        </p:txBody>
      </p:sp>
      <p:sp>
        <p:nvSpPr>
          <p:cNvPr id="26" name="Segnaposto tabella 2"/>
          <p:cNvSpPr>
            <a:spLocks noGrp="1"/>
          </p:cNvSpPr>
          <p:nvPr>
            <p:ph type="tbl" sz="quarter" idx="23"/>
          </p:nvPr>
        </p:nvSpPr>
        <p:spPr>
          <a:xfrm>
            <a:off x="480000" y="4032000"/>
            <a:ext cx="5520000" cy="2052000"/>
          </a:xfrm>
        </p:spPr>
        <p:txBody>
          <a:bodyPr rtlCol="0">
            <a:noAutofit/>
          </a:bodyPr>
          <a:lstStyle/>
          <a:p>
            <a:pPr lvl="0"/>
            <a:r>
              <a:rPr lang="it-IT" noProof="0"/>
              <a:t>Fare clic sull'icona per inserire una tabella</a:t>
            </a:r>
          </a:p>
        </p:txBody>
      </p:sp>
      <p:sp>
        <p:nvSpPr>
          <p:cNvPr id="27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80000" y="252001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2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895ECAE-4952-4AA1-9473-A0E90062C7C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Sottotitolo 2"/>
          <p:cNvSpPr>
            <a:spLocks noGrp="1"/>
          </p:cNvSpPr>
          <p:nvPr>
            <p:ph type="subTitle" idx="1"/>
          </p:nvPr>
        </p:nvSpPr>
        <p:spPr>
          <a:xfrm>
            <a:off x="480000" y="1249333"/>
            <a:ext cx="11182248" cy="468000"/>
          </a:xfrm>
        </p:spPr>
        <p:txBody>
          <a:bodyPr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133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  <a:endParaRPr lang="it-IT" dirty="0"/>
          </a:p>
        </p:txBody>
      </p:sp>
      <p:sp>
        <p:nvSpPr>
          <p:cNvPr id="12" name="McK 2. Slide Title"/>
          <p:cNvSpPr>
            <a:spLocks noGrp="1"/>
          </p:cNvSpPr>
          <p:nvPr>
            <p:ph type="title"/>
          </p:nvPr>
        </p:nvSpPr>
        <p:spPr>
          <a:xfrm>
            <a:off x="480000" y="533400"/>
            <a:ext cx="11184000" cy="702733"/>
          </a:xfrm>
        </p:spPr>
        <p:txBody>
          <a:bodyPr/>
          <a:lstStyle>
            <a:lvl1pPr marL="0" indent="0" algn="l" defTabSz="609585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lang="en-US" sz="2667" b="0" i="0" kern="1200" baseline="0" dirty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63032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ccia destra 1"/>
          <p:cNvSpPr/>
          <p:nvPr userDrawn="1"/>
        </p:nvSpPr>
        <p:spPr>
          <a:xfrm flipV="1">
            <a:off x="463553" y="3727449"/>
            <a:ext cx="11188700" cy="236539"/>
          </a:xfrm>
          <a:prstGeom prst="rightArrow">
            <a:avLst>
              <a:gd name="adj1" fmla="val 50000"/>
              <a:gd name="adj2" fmla="val 151308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2667"/>
          </a:p>
        </p:txBody>
      </p:sp>
      <p:cxnSp>
        <p:nvCxnSpPr>
          <p:cNvPr id="25" name="Connettore 1 9"/>
          <p:cNvCxnSpPr/>
          <p:nvPr userDrawn="1"/>
        </p:nvCxnSpPr>
        <p:spPr>
          <a:xfrm>
            <a:off x="480484" y="3171825"/>
            <a:ext cx="1835149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nettore 1 21"/>
          <p:cNvCxnSpPr/>
          <p:nvPr userDrawn="1"/>
        </p:nvCxnSpPr>
        <p:spPr>
          <a:xfrm flipV="1">
            <a:off x="1397000" y="3171826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1 31"/>
          <p:cNvCxnSpPr/>
          <p:nvPr userDrawn="1"/>
        </p:nvCxnSpPr>
        <p:spPr>
          <a:xfrm>
            <a:off x="1559984" y="4510088"/>
            <a:ext cx="1837267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1 32"/>
          <p:cNvCxnSpPr/>
          <p:nvPr userDrawn="1"/>
        </p:nvCxnSpPr>
        <p:spPr>
          <a:xfrm flipV="1">
            <a:off x="2493433" y="4217989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34"/>
          <p:cNvCxnSpPr/>
          <p:nvPr userDrawn="1"/>
        </p:nvCxnSpPr>
        <p:spPr>
          <a:xfrm>
            <a:off x="2614084" y="3171825"/>
            <a:ext cx="1835149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5"/>
          <p:cNvCxnSpPr/>
          <p:nvPr userDrawn="1"/>
        </p:nvCxnSpPr>
        <p:spPr>
          <a:xfrm flipV="1">
            <a:off x="3547533" y="3171826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1 40"/>
          <p:cNvCxnSpPr/>
          <p:nvPr userDrawn="1"/>
        </p:nvCxnSpPr>
        <p:spPr>
          <a:xfrm>
            <a:off x="3725333" y="4510088"/>
            <a:ext cx="1837267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41"/>
          <p:cNvCxnSpPr/>
          <p:nvPr userDrawn="1"/>
        </p:nvCxnSpPr>
        <p:spPr>
          <a:xfrm flipV="1">
            <a:off x="4660900" y="4217989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1 43"/>
          <p:cNvCxnSpPr/>
          <p:nvPr userDrawn="1"/>
        </p:nvCxnSpPr>
        <p:spPr>
          <a:xfrm>
            <a:off x="4766735" y="3171825"/>
            <a:ext cx="1835151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44"/>
          <p:cNvCxnSpPr/>
          <p:nvPr userDrawn="1"/>
        </p:nvCxnSpPr>
        <p:spPr>
          <a:xfrm flipV="1">
            <a:off x="5700184" y="3171826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1 46"/>
          <p:cNvCxnSpPr/>
          <p:nvPr userDrawn="1"/>
        </p:nvCxnSpPr>
        <p:spPr>
          <a:xfrm>
            <a:off x="5890684" y="4510088"/>
            <a:ext cx="1837267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1 47"/>
          <p:cNvCxnSpPr/>
          <p:nvPr userDrawn="1"/>
        </p:nvCxnSpPr>
        <p:spPr>
          <a:xfrm flipV="1">
            <a:off x="6826251" y="4217989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1 49"/>
          <p:cNvCxnSpPr/>
          <p:nvPr userDrawn="1"/>
        </p:nvCxnSpPr>
        <p:spPr>
          <a:xfrm>
            <a:off x="8036984" y="4510088"/>
            <a:ext cx="1835149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1 50"/>
          <p:cNvCxnSpPr/>
          <p:nvPr userDrawn="1"/>
        </p:nvCxnSpPr>
        <p:spPr>
          <a:xfrm flipV="1">
            <a:off x="8970433" y="4217989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52"/>
          <p:cNvCxnSpPr/>
          <p:nvPr userDrawn="1"/>
        </p:nvCxnSpPr>
        <p:spPr>
          <a:xfrm>
            <a:off x="6949018" y="3171825"/>
            <a:ext cx="1835149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1 53"/>
          <p:cNvCxnSpPr/>
          <p:nvPr userDrawn="1"/>
        </p:nvCxnSpPr>
        <p:spPr>
          <a:xfrm flipV="1">
            <a:off x="7882467" y="3171826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1 55"/>
          <p:cNvCxnSpPr/>
          <p:nvPr userDrawn="1"/>
        </p:nvCxnSpPr>
        <p:spPr>
          <a:xfrm>
            <a:off x="9093200" y="3171825"/>
            <a:ext cx="1837267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nettore 1 56"/>
          <p:cNvCxnSpPr/>
          <p:nvPr userDrawn="1"/>
        </p:nvCxnSpPr>
        <p:spPr>
          <a:xfrm flipV="1">
            <a:off x="10028767" y="3171826"/>
            <a:ext cx="0" cy="29210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80000" y="252001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4"/>
          </p:nvPr>
        </p:nvSpPr>
        <p:spPr>
          <a:xfrm>
            <a:off x="924215" y="3543602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2021739" y="3963663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Segnaposto testo 3"/>
          <p:cNvSpPr>
            <a:spLocks noGrp="1"/>
          </p:cNvSpPr>
          <p:nvPr>
            <p:ph type="body" sz="quarter" idx="16"/>
          </p:nvPr>
        </p:nvSpPr>
        <p:spPr>
          <a:xfrm>
            <a:off x="3074859" y="3543602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Segnaposto testo 3"/>
          <p:cNvSpPr>
            <a:spLocks noGrp="1"/>
          </p:cNvSpPr>
          <p:nvPr>
            <p:ph type="body" sz="quarter" idx="17"/>
          </p:nvPr>
        </p:nvSpPr>
        <p:spPr>
          <a:xfrm>
            <a:off x="4187152" y="3963663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3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228101" y="3543602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6" name="Segnaposto testo 3"/>
          <p:cNvSpPr>
            <a:spLocks noGrp="1"/>
          </p:cNvSpPr>
          <p:nvPr>
            <p:ph type="body" sz="quarter" idx="19"/>
          </p:nvPr>
        </p:nvSpPr>
        <p:spPr>
          <a:xfrm>
            <a:off x="6352565" y="3963663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9" name="Segnaposto testo 3"/>
          <p:cNvSpPr>
            <a:spLocks noGrp="1"/>
          </p:cNvSpPr>
          <p:nvPr>
            <p:ph type="body" sz="quarter" idx="20"/>
          </p:nvPr>
        </p:nvSpPr>
        <p:spPr>
          <a:xfrm>
            <a:off x="8497455" y="3963663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2" name="Segnaposto testo 3"/>
          <p:cNvSpPr>
            <a:spLocks noGrp="1"/>
          </p:cNvSpPr>
          <p:nvPr>
            <p:ph type="body" sz="quarter" idx="21"/>
          </p:nvPr>
        </p:nvSpPr>
        <p:spPr>
          <a:xfrm>
            <a:off x="7410287" y="3543602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5" name="Segnaposto testo 3"/>
          <p:cNvSpPr>
            <a:spLocks noGrp="1"/>
          </p:cNvSpPr>
          <p:nvPr>
            <p:ph type="body" sz="quarter" idx="22"/>
          </p:nvPr>
        </p:nvSpPr>
        <p:spPr>
          <a:xfrm>
            <a:off x="9555133" y="3543602"/>
            <a:ext cx="943584" cy="18453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0" name="Segnaposto testo 59"/>
          <p:cNvSpPr>
            <a:spLocks noGrp="1"/>
          </p:cNvSpPr>
          <p:nvPr>
            <p:ph type="body" sz="quarter" idx="23"/>
          </p:nvPr>
        </p:nvSpPr>
        <p:spPr>
          <a:xfrm>
            <a:off x="480000" y="1662546"/>
            <a:ext cx="1835149" cy="1385455"/>
          </a:xfrm>
        </p:spPr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1" name="Segnaposto testo 59"/>
          <p:cNvSpPr>
            <a:spLocks noGrp="1"/>
          </p:cNvSpPr>
          <p:nvPr>
            <p:ph type="body" sz="quarter" idx="24"/>
          </p:nvPr>
        </p:nvSpPr>
        <p:spPr>
          <a:xfrm>
            <a:off x="2630035" y="1662546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62" name="Segnaposto testo 59"/>
          <p:cNvSpPr>
            <a:spLocks noGrp="1"/>
          </p:cNvSpPr>
          <p:nvPr>
            <p:ph type="body" sz="quarter" idx="25"/>
          </p:nvPr>
        </p:nvSpPr>
        <p:spPr>
          <a:xfrm>
            <a:off x="4766954" y="1662546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63" name="Segnaposto testo 59"/>
          <p:cNvSpPr>
            <a:spLocks noGrp="1"/>
          </p:cNvSpPr>
          <p:nvPr>
            <p:ph type="body" sz="quarter" idx="26"/>
          </p:nvPr>
        </p:nvSpPr>
        <p:spPr>
          <a:xfrm>
            <a:off x="6963826" y="1662546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4" name="Segnaposto testo 59"/>
          <p:cNvSpPr>
            <a:spLocks noGrp="1"/>
          </p:cNvSpPr>
          <p:nvPr>
            <p:ph type="body" sz="quarter" idx="27"/>
          </p:nvPr>
        </p:nvSpPr>
        <p:spPr>
          <a:xfrm>
            <a:off x="9126056" y="1662546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70" name="Segnaposto testo 59"/>
          <p:cNvSpPr>
            <a:spLocks noGrp="1"/>
          </p:cNvSpPr>
          <p:nvPr>
            <p:ph type="body" sz="quarter" idx="29"/>
          </p:nvPr>
        </p:nvSpPr>
        <p:spPr>
          <a:xfrm>
            <a:off x="1563091" y="4633577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71" name="Segnaposto testo 59"/>
          <p:cNvSpPr>
            <a:spLocks noGrp="1"/>
          </p:cNvSpPr>
          <p:nvPr>
            <p:ph type="body" sz="quarter" idx="30"/>
          </p:nvPr>
        </p:nvSpPr>
        <p:spPr>
          <a:xfrm>
            <a:off x="3726616" y="4633577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72" name="Segnaposto testo 59"/>
          <p:cNvSpPr>
            <a:spLocks noGrp="1"/>
          </p:cNvSpPr>
          <p:nvPr>
            <p:ph type="body" sz="quarter" idx="31"/>
          </p:nvPr>
        </p:nvSpPr>
        <p:spPr>
          <a:xfrm>
            <a:off x="5907742" y="4633577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3" name="Segnaposto testo 59"/>
          <p:cNvSpPr>
            <a:spLocks noGrp="1"/>
          </p:cNvSpPr>
          <p:nvPr>
            <p:ph type="body" sz="quarter" idx="32"/>
          </p:nvPr>
        </p:nvSpPr>
        <p:spPr>
          <a:xfrm>
            <a:off x="8036919" y="4633577"/>
            <a:ext cx="1835149" cy="138545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8" name="Segnaposto numero diapositiva 5"/>
          <p:cNvSpPr>
            <a:spLocks noGrp="1"/>
          </p:cNvSpPr>
          <p:nvPr>
            <p:ph type="sldNum" sz="quarter" idx="33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98574E3-425F-49D4-802F-9F62D929B511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50" name="Sottotitolo 2"/>
          <p:cNvSpPr>
            <a:spLocks noGrp="1"/>
          </p:cNvSpPr>
          <p:nvPr>
            <p:ph type="subTitle" idx="1"/>
          </p:nvPr>
        </p:nvSpPr>
        <p:spPr>
          <a:xfrm>
            <a:off x="480000" y="1249333"/>
            <a:ext cx="11182248" cy="468000"/>
          </a:xfrm>
        </p:spPr>
        <p:txBody>
          <a:bodyPr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133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  <a:endParaRPr lang="it-IT" dirty="0"/>
          </a:p>
        </p:txBody>
      </p:sp>
      <p:sp>
        <p:nvSpPr>
          <p:cNvPr id="51" name="McK 2. Slide Title"/>
          <p:cNvSpPr>
            <a:spLocks noGrp="1"/>
          </p:cNvSpPr>
          <p:nvPr>
            <p:ph type="title"/>
          </p:nvPr>
        </p:nvSpPr>
        <p:spPr>
          <a:xfrm>
            <a:off x="480000" y="533400"/>
            <a:ext cx="11184000" cy="702733"/>
          </a:xfrm>
        </p:spPr>
        <p:txBody>
          <a:bodyPr/>
          <a:lstStyle>
            <a:lvl1pPr marL="0" indent="0" algn="l" defTabSz="609585" rtl="0" eaLnBrk="1" latinLnBrk="0" hangingPunct="1">
              <a:lnSpc>
                <a:spcPts val="2933"/>
              </a:lnSpc>
              <a:spcBef>
                <a:spcPct val="0"/>
              </a:spcBef>
              <a:buNone/>
              <a:defRPr lang="en-US" sz="2667" b="0" i="0" kern="1200" baseline="0" dirty="0">
                <a:solidFill>
                  <a:schemeClr val="tx2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72682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1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9"/>
          <p:cNvPicPr>
            <a:picLocks noChangeAspect="1"/>
          </p:cNvPicPr>
          <p:nvPr userDrawn="1"/>
        </p:nvPicPr>
        <p:blipFill>
          <a:blip r:embed="rId3"/>
          <a:srcRect l="2" r="14960" b="85913"/>
          <a:stretch>
            <a:fillRect/>
          </a:stretch>
        </p:blipFill>
        <p:spPr bwMode="auto">
          <a:xfrm>
            <a:off x="0" y="1"/>
            <a:ext cx="287867" cy="966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object 30"/>
          <p:cNvSpPr>
            <a:spLocks/>
          </p:cNvSpPr>
          <p:nvPr userDrawn="1"/>
        </p:nvSpPr>
        <p:spPr bwMode="auto">
          <a:xfrm>
            <a:off x="0" y="0"/>
            <a:ext cx="12192000" cy="6858000"/>
          </a:xfrm>
          <a:custGeom>
            <a:avLst/>
            <a:gdLst>
              <a:gd name="T0" fmla="*/ 0 w 9144000"/>
              <a:gd name="T1" fmla="*/ 2147483647 h 3683000"/>
              <a:gd name="T2" fmla="*/ 9144000 w 9144000"/>
              <a:gd name="T3" fmla="*/ 2147483647 h 3683000"/>
              <a:gd name="T4" fmla="*/ 9144000 w 9144000"/>
              <a:gd name="T5" fmla="*/ 0 h 3683000"/>
              <a:gd name="T6" fmla="*/ 0 w 9144000"/>
              <a:gd name="T7" fmla="*/ 0 h 3683000"/>
              <a:gd name="T8" fmla="*/ 0 w 9144000"/>
              <a:gd name="T9" fmla="*/ 2147483647 h 3683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144000" h="3683000">
                <a:moveTo>
                  <a:pt x="0" y="3683000"/>
                </a:moveTo>
                <a:lnTo>
                  <a:pt x="9144000" y="3683000"/>
                </a:lnTo>
                <a:lnTo>
                  <a:pt x="9144000" y="0"/>
                </a:lnTo>
                <a:lnTo>
                  <a:pt x="0" y="0"/>
                </a:lnTo>
                <a:lnTo>
                  <a:pt x="0" y="3683000"/>
                </a:lnTo>
                <a:close/>
              </a:path>
            </a:pathLst>
          </a:custGeom>
          <a:solidFill>
            <a:srgbClr val="AF0819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endParaRPr lang="en-US" sz="2667" dirty="0"/>
          </a:p>
        </p:txBody>
      </p:sp>
      <p:sp>
        <p:nvSpPr>
          <p:cNvPr id="10" name="Title 4"/>
          <p:cNvSpPr txBox="1">
            <a:spLocks/>
          </p:cNvSpPr>
          <p:nvPr userDrawn="1"/>
        </p:nvSpPr>
        <p:spPr>
          <a:xfrm>
            <a:off x="472017" y="460377"/>
            <a:ext cx="10284883" cy="569913"/>
          </a:xfrm>
          <a:prstGeom prst="rect">
            <a:avLst/>
          </a:prstGeom>
        </p:spPr>
        <p:txBody>
          <a:bodyPr lIns="0" tIns="0" rIns="0" bIns="0"/>
          <a:lstStyle>
            <a:lvl1pPr algn="l" defTabSz="448009" rtl="0" eaLnBrk="1" latinLnBrk="0" hangingPunct="1">
              <a:lnSpc>
                <a:spcPts val="2156"/>
              </a:lnSpc>
              <a:spcBef>
                <a:spcPct val="0"/>
              </a:spcBef>
              <a:buNone/>
              <a:defRPr sz="2000" b="0" i="0" kern="1200" baseline="0">
                <a:solidFill>
                  <a:schemeClr val="bg1"/>
                </a:solidFill>
                <a:latin typeface="Arial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GB" sz="2667" b="1" dirty="0" err="1">
                <a:solidFill>
                  <a:prstClr val="white"/>
                </a:solidFill>
              </a:rPr>
              <a:t>Appendice</a:t>
            </a:r>
            <a:endParaRPr lang="en-GB" sz="2667" b="1" dirty="0">
              <a:solidFill>
                <a:prstClr val="white"/>
              </a:solidFill>
            </a:endParaRPr>
          </a:p>
        </p:txBody>
      </p:sp>
      <p:sp>
        <p:nvSpPr>
          <p:cNvPr id="11" name="object 3"/>
          <p:cNvSpPr txBox="1">
            <a:spLocks noChangeArrowheads="1"/>
          </p:cNvSpPr>
          <p:nvPr userDrawn="1"/>
        </p:nvSpPr>
        <p:spPr bwMode="auto">
          <a:xfrm>
            <a:off x="484720" y="6464300"/>
            <a:ext cx="2914649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 defTabSz="465138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 defTabSz="465138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 defTabSz="465138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 defTabSz="465138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 defTabSz="465138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65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65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65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65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933" dirty="0">
                <a:solidFill>
                  <a:srgbClr val="FFFFFF"/>
                </a:solidFill>
                <a:latin typeface="Arial" pitchFamily="34" charset="0"/>
              </a:rPr>
              <a:t>© Assicurazioni</a:t>
            </a:r>
            <a:r>
              <a:rPr lang="it-IT" altLang="en-US" sz="933" baseline="0" dirty="0">
                <a:solidFill>
                  <a:srgbClr val="FFFFFF"/>
                </a:solidFill>
                <a:latin typeface="Arial" pitchFamily="34" charset="0"/>
              </a:rPr>
              <a:t> </a:t>
            </a:r>
            <a:r>
              <a:rPr lang="it-IT" altLang="en-US" sz="933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enerali</a:t>
            </a:r>
          </a:p>
          <a:p>
            <a:pPr>
              <a:lnSpc>
                <a:spcPct val="96000"/>
              </a:lnSpc>
              <a:spcBef>
                <a:spcPts val="17"/>
              </a:spcBef>
              <a:defRPr/>
            </a:pPr>
            <a:endParaRPr lang="en-US" altLang="en-US" sz="933" dirty="0">
              <a:solidFill>
                <a:srgbClr val="BD202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63067" y="273559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3081" y="273559"/>
            <a:ext cx="2964165" cy="115991"/>
          </a:xfrm>
        </p:spPr>
        <p:txBody>
          <a:bodyPr rtlCol="0">
            <a:normAutofit/>
          </a:bodyPr>
          <a:lstStyle>
            <a:lvl1pPr>
              <a:defRPr lang="en-GB" sz="933" baseline="0" dirty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25652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am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object 3"/>
          <p:cNvSpPr txBox="1">
            <a:spLocks noChangeArrowheads="1"/>
          </p:cNvSpPr>
          <p:nvPr userDrawn="1"/>
        </p:nvSpPr>
        <p:spPr bwMode="auto">
          <a:xfrm>
            <a:off x="480486" y="720725"/>
            <a:ext cx="1780116" cy="287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2667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eam</a:t>
            </a:r>
            <a:endParaRPr lang="en-US" altLang="en-US" sz="2667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Segnaposto testo 5"/>
          <p:cNvSpPr>
            <a:spLocks noGrp="1"/>
          </p:cNvSpPr>
          <p:nvPr>
            <p:ph type="body" sz="quarter" idx="14"/>
          </p:nvPr>
        </p:nvSpPr>
        <p:spPr>
          <a:xfrm>
            <a:off x="480000" y="1223965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Segnaposto testo 5"/>
          <p:cNvSpPr>
            <a:spLocks noGrp="1"/>
          </p:cNvSpPr>
          <p:nvPr>
            <p:ph type="body" sz="quarter" idx="16"/>
          </p:nvPr>
        </p:nvSpPr>
        <p:spPr>
          <a:xfrm>
            <a:off x="480000" y="1462571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Segnaposto testo 5"/>
          <p:cNvSpPr>
            <a:spLocks noGrp="1"/>
          </p:cNvSpPr>
          <p:nvPr>
            <p:ph type="body" sz="quarter" idx="17"/>
          </p:nvPr>
        </p:nvSpPr>
        <p:spPr>
          <a:xfrm>
            <a:off x="480000" y="1678086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Segnaposto testo 5"/>
          <p:cNvSpPr>
            <a:spLocks noGrp="1"/>
          </p:cNvSpPr>
          <p:nvPr>
            <p:ph type="body" sz="quarter" idx="18"/>
          </p:nvPr>
        </p:nvSpPr>
        <p:spPr>
          <a:xfrm>
            <a:off x="480000" y="1893602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Segnaposto testo 5"/>
          <p:cNvSpPr>
            <a:spLocks noGrp="1"/>
          </p:cNvSpPr>
          <p:nvPr>
            <p:ph type="body" sz="quarter" idx="19"/>
          </p:nvPr>
        </p:nvSpPr>
        <p:spPr>
          <a:xfrm>
            <a:off x="480000" y="2216874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Segnaposto testo 5"/>
          <p:cNvSpPr>
            <a:spLocks noGrp="1"/>
          </p:cNvSpPr>
          <p:nvPr>
            <p:ph type="body" sz="quarter" idx="20"/>
          </p:nvPr>
        </p:nvSpPr>
        <p:spPr>
          <a:xfrm>
            <a:off x="480000" y="2455479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Segnaposto testo 5"/>
          <p:cNvSpPr>
            <a:spLocks noGrp="1"/>
          </p:cNvSpPr>
          <p:nvPr>
            <p:ph type="body" sz="quarter" idx="21"/>
          </p:nvPr>
        </p:nvSpPr>
        <p:spPr>
          <a:xfrm>
            <a:off x="480000" y="2670994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Segnaposto testo 5"/>
          <p:cNvSpPr>
            <a:spLocks noGrp="1"/>
          </p:cNvSpPr>
          <p:nvPr>
            <p:ph type="body" sz="quarter" idx="22"/>
          </p:nvPr>
        </p:nvSpPr>
        <p:spPr>
          <a:xfrm>
            <a:off x="480000" y="2886511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Segnaposto testo 5"/>
          <p:cNvSpPr>
            <a:spLocks noGrp="1"/>
          </p:cNvSpPr>
          <p:nvPr>
            <p:ph type="body" sz="quarter" idx="23"/>
          </p:nvPr>
        </p:nvSpPr>
        <p:spPr>
          <a:xfrm>
            <a:off x="480000" y="3217479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Segnaposto testo 5"/>
          <p:cNvSpPr>
            <a:spLocks noGrp="1"/>
          </p:cNvSpPr>
          <p:nvPr>
            <p:ph type="body" sz="quarter" idx="24"/>
          </p:nvPr>
        </p:nvSpPr>
        <p:spPr>
          <a:xfrm>
            <a:off x="480000" y="3456086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80000" y="3671601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Segnaposto testo 5"/>
          <p:cNvSpPr>
            <a:spLocks noGrp="1"/>
          </p:cNvSpPr>
          <p:nvPr>
            <p:ph type="body" sz="quarter" idx="26"/>
          </p:nvPr>
        </p:nvSpPr>
        <p:spPr>
          <a:xfrm>
            <a:off x="480000" y="3887117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Segnaposto testo 5"/>
          <p:cNvSpPr>
            <a:spLocks noGrp="1"/>
          </p:cNvSpPr>
          <p:nvPr>
            <p:ph type="body" sz="quarter" idx="27"/>
          </p:nvPr>
        </p:nvSpPr>
        <p:spPr>
          <a:xfrm>
            <a:off x="480000" y="4210389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Segnaposto testo 5"/>
          <p:cNvSpPr>
            <a:spLocks noGrp="1"/>
          </p:cNvSpPr>
          <p:nvPr>
            <p:ph type="body" sz="quarter" idx="28"/>
          </p:nvPr>
        </p:nvSpPr>
        <p:spPr>
          <a:xfrm>
            <a:off x="480000" y="4448995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Segnaposto testo 5"/>
          <p:cNvSpPr>
            <a:spLocks noGrp="1"/>
          </p:cNvSpPr>
          <p:nvPr>
            <p:ph type="body" sz="quarter" idx="29"/>
          </p:nvPr>
        </p:nvSpPr>
        <p:spPr>
          <a:xfrm>
            <a:off x="480000" y="4664510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Segnaposto testo 5"/>
          <p:cNvSpPr>
            <a:spLocks noGrp="1"/>
          </p:cNvSpPr>
          <p:nvPr>
            <p:ph type="body" sz="quarter" idx="30"/>
          </p:nvPr>
        </p:nvSpPr>
        <p:spPr>
          <a:xfrm>
            <a:off x="480000" y="4880026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3" name="Segnaposto testo 5"/>
          <p:cNvSpPr>
            <a:spLocks noGrp="1"/>
          </p:cNvSpPr>
          <p:nvPr>
            <p:ph type="body" sz="quarter" idx="31"/>
          </p:nvPr>
        </p:nvSpPr>
        <p:spPr>
          <a:xfrm>
            <a:off x="480000" y="5203299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Segnaposto testo 5"/>
          <p:cNvSpPr>
            <a:spLocks noGrp="1"/>
          </p:cNvSpPr>
          <p:nvPr>
            <p:ph type="body" sz="quarter" idx="32"/>
          </p:nvPr>
        </p:nvSpPr>
        <p:spPr>
          <a:xfrm>
            <a:off x="480000" y="5441905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Segnaposto testo 5"/>
          <p:cNvSpPr>
            <a:spLocks noGrp="1"/>
          </p:cNvSpPr>
          <p:nvPr>
            <p:ph type="body" sz="quarter" idx="33"/>
          </p:nvPr>
        </p:nvSpPr>
        <p:spPr>
          <a:xfrm>
            <a:off x="480000" y="5657419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6" name="Segnaposto testo 5"/>
          <p:cNvSpPr>
            <a:spLocks noGrp="1"/>
          </p:cNvSpPr>
          <p:nvPr>
            <p:ph type="body" sz="quarter" idx="34"/>
          </p:nvPr>
        </p:nvSpPr>
        <p:spPr>
          <a:xfrm>
            <a:off x="480000" y="5872935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Segnaposto testo 5"/>
          <p:cNvSpPr>
            <a:spLocks noGrp="1"/>
          </p:cNvSpPr>
          <p:nvPr>
            <p:ph type="body" sz="quarter" idx="35"/>
          </p:nvPr>
        </p:nvSpPr>
        <p:spPr>
          <a:xfrm>
            <a:off x="6144000" y="1223965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Segnaposto testo 5"/>
          <p:cNvSpPr>
            <a:spLocks noGrp="1"/>
          </p:cNvSpPr>
          <p:nvPr>
            <p:ph type="body" sz="quarter" idx="36"/>
          </p:nvPr>
        </p:nvSpPr>
        <p:spPr>
          <a:xfrm>
            <a:off x="6144000" y="1462571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Segnaposto testo 5"/>
          <p:cNvSpPr>
            <a:spLocks noGrp="1"/>
          </p:cNvSpPr>
          <p:nvPr>
            <p:ph type="body" sz="quarter" idx="37"/>
          </p:nvPr>
        </p:nvSpPr>
        <p:spPr>
          <a:xfrm>
            <a:off x="6144000" y="1678086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Segnaposto testo 5"/>
          <p:cNvSpPr>
            <a:spLocks noGrp="1"/>
          </p:cNvSpPr>
          <p:nvPr>
            <p:ph type="body" sz="quarter" idx="38"/>
          </p:nvPr>
        </p:nvSpPr>
        <p:spPr>
          <a:xfrm>
            <a:off x="6144000" y="1893602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1" name="Segnaposto testo 5"/>
          <p:cNvSpPr>
            <a:spLocks noGrp="1"/>
          </p:cNvSpPr>
          <p:nvPr>
            <p:ph type="body" sz="quarter" idx="39"/>
          </p:nvPr>
        </p:nvSpPr>
        <p:spPr>
          <a:xfrm>
            <a:off x="6144000" y="2216874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2" name="Segnaposto testo 5"/>
          <p:cNvSpPr>
            <a:spLocks noGrp="1"/>
          </p:cNvSpPr>
          <p:nvPr>
            <p:ph type="body" sz="quarter" idx="40"/>
          </p:nvPr>
        </p:nvSpPr>
        <p:spPr>
          <a:xfrm>
            <a:off x="6144000" y="2455479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3" name="Segnaposto testo 5"/>
          <p:cNvSpPr>
            <a:spLocks noGrp="1"/>
          </p:cNvSpPr>
          <p:nvPr>
            <p:ph type="body" sz="quarter" idx="41"/>
          </p:nvPr>
        </p:nvSpPr>
        <p:spPr>
          <a:xfrm>
            <a:off x="6144000" y="2670994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4" name="Segnaposto testo 5"/>
          <p:cNvSpPr>
            <a:spLocks noGrp="1"/>
          </p:cNvSpPr>
          <p:nvPr>
            <p:ph type="body" sz="quarter" idx="42"/>
          </p:nvPr>
        </p:nvSpPr>
        <p:spPr>
          <a:xfrm>
            <a:off x="6144000" y="2886511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5" name="Segnaposto testo 5"/>
          <p:cNvSpPr>
            <a:spLocks noGrp="1"/>
          </p:cNvSpPr>
          <p:nvPr>
            <p:ph type="body" sz="quarter" idx="43"/>
          </p:nvPr>
        </p:nvSpPr>
        <p:spPr>
          <a:xfrm>
            <a:off x="6144000" y="3217479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6" name="Segnaposto testo 5"/>
          <p:cNvSpPr>
            <a:spLocks noGrp="1"/>
          </p:cNvSpPr>
          <p:nvPr>
            <p:ph type="body" sz="quarter" idx="44"/>
          </p:nvPr>
        </p:nvSpPr>
        <p:spPr>
          <a:xfrm>
            <a:off x="6144000" y="3456086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7" name="Segnaposto testo 5"/>
          <p:cNvSpPr>
            <a:spLocks noGrp="1"/>
          </p:cNvSpPr>
          <p:nvPr>
            <p:ph type="body" sz="quarter" idx="45"/>
          </p:nvPr>
        </p:nvSpPr>
        <p:spPr>
          <a:xfrm>
            <a:off x="6144000" y="3671601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8" name="Segnaposto testo 5"/>
          <p:cNvSpPr>
            <a:spLocks noGrp="1"/>
          </p:cNvSpPr>
          <p:nvPr>
            <p:ph type="body" sz="quarter" idx="46"/>
          </p:nvPr>
        </p:nvSpPr>
        <p:spPr>
          <a:xfrm>
            <a:off x="6144000" y="3887117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9" name="Segnaposto testo 5"/>
          <p:cNvSpPr>
            <a:spLocks noGrp="1"/>
          </p:cNvSpPr>
          <p:nvPr>
            <p:ph type="body" sz="quarter" idx="47"/>
          </p:nvPr>
        </p:nvSpPr>
        <p:spPr>
          <a:xfrm>
            <a:off x="6144000" y="4210389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0" name="Segnaposto testo 5"/>
          <p:cNvSpPr>
            <a:spLocks noGrp="1"/>
          </p:cNvSpPr>
          <p:nvPr>
            <p:ph type="body" sz="quarter" idx="48"/>
          </p:nvPr>
        </p:nvSpPr>
        <p:spPr>
          <a:xfrm>
            <a:off x="6144000" y="4448995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1" name="Segnaposto testo 5"/>
          <p:cNvSpPr>
            <a:spLocks noGrp="1"/>
          </p:cNvSpPr>
          <p:nvPr>
            <p:ph type="body" sz="quarter" idx="49"/>
          </p:nvPr>
        </p:nvSpPr>
        <p:spPr>
          <a:xfrm>
            <a:off x="6144000" y="4664510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2" name="Segnaposto testo 5"/>
          <p:cNvSpPr>
            <a:spLocks noGrp="1"/>
          </p:cNvSpPr>
          <p:nvPr>
            <p:ph type="body" sz="quarter" idx="50"/>
          </p:nvPr>
        </p:nvSpPr>
        <p:spPr>
          <a:xfrm>
            <a:off x="6144000" y="4880026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3" name="Segnaposto testo 5"/>
          <p:cNvSpPr>
            <a:spLocks noGrp="1"/>
          </p:cNvSpPr>
          <p:nvPr>
            <p:ph type="body" sz="quarter" idx="51"/>
          </p:nvPr>
        </p:nvSpPr>
        <p:spPr>
          <a:xfrm>
            <a:off x="6144000" y="5203299"/>
            <a:ext cx="5520000" cy="161492"/>
          </a:xfrm>
        </p:spPr>
        <p:txBody>
          <a:bodyPr/>
          <a:lstStyle>
            <a:lvl1pPr>
              <a:defRPr sz="1600" b="1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4" name="Segnaposto testo 5"/>
          <p:cNvSpPr>
            <a:spLocks noGrp="1"/>
          </p:cNvSpPr>
          <p:nvPr>
            <p:ph type="body" sz="quarter" idx="52"/>
          </p:nvPr>
        </p:nvSpPr>
        <p:spPr>
          <a:xfrm>
            <a:off x="6144000" y="5441905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5" name="Segnaposto testo 5"/>
          <p:cNvSpPr>
            <a:spLocks noGrp="1"/>
          </p:cNvSpPr>
          <p:nvPr>
            <p:ph type="body" sz="quarter" idx="53"/>
          </p:nvPr>
        </p:nvSpPr>
        <p:spPr>
          <a:xfrm>
            <a:off x="6144000" y="5657419"/>
            <a:ext cx="5520000" cy="161492"/>
          </a:xfrm>
        </p:spPr>
        <p:txBody>
          <a:bodyPr/>
          <a:lstStyle>
            <a:lvl1pPr>
              <a:defRPr sz="1333" b="0" i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6" name="Segnaposto testo 5"/>
          <p:cNvSpPr>
            <a:spLocks noGrp="1"/>
          </p:cNvSpPr>
          <p:nvPr>
            <p:ph type="body" sz="quarter" idx="54"/>
          </p:nvPr>
        </p:nvSpPr>
        <p:spPr>
          <a:xfrm>
            <a:off x="6144000" y="5872935"/>
            <a:ext cx="5520000" cy="161492"/>
          </a:xfrm>
        </p:spPr>
        <p:txBody>
          <a:bodyPr/>
          <a:lstStyle>
            <a:lvl1pPr>
              <a:defRPr sz="1333" b="0" i="0" baseline="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9" name="Segnaposto numero diapositiva 5"/>
          <p:cNvSpPr>
            <a:spLocks noGrp="1"/>
          </p:cNvSpPr>
          <p:nvPr>
            <p:ph type="sldNum" sz="quarter" idx="55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6D359A4-6399-4C92-B728-BAB8BFBDD70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637657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ext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3"/>
          <p:cNvSpPr txBox="1">
            <a:spLocks noChangeArrowheads="1"/>
          </p:cNvSpPr>
          <p:nvPr userDrawn="1"/>
        </p:nvSpPr>
        <p:spPr bwMode="auto">
          <a:xfrm>
            <a:off x="476251" y="715964"/>
            <a:ext cx="3486149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2667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xt steps</a:t>
            </a:r>
            <a:endParaRPr lang="en-US" altLang="en-US" sz="2667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Segnaposto testo 54"/>
          <p:cNvSpPr>
            <a:spLocks noGrp="1"/>
          </p:cNvSpPr>
          <p:nvPr>
            <p:ph type="body" sz="quarter" idx="43"/>
          </p:nvPr>
        </p:nvSpPr>
        <p:spPr>
          <a:xfrm>
            <a:off x="528000" y="1223965"/>
            <a:ext cx="5520000" cy="169335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0" name="Segnaposto testo 54"/>
          <p:cNvSpPr>
            <a:spLocks noGrp="1"/>
          </p:cNvSpPr>
          <p:nvPr>
            <p:ph type="body" sz="quarter" idx="44"/>
          </p:nvPr>
        </p:nvSpPr>
        <p:spPr>
          <a:xfrm>
            <a:off x="528000" y="1400995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1" name="Segnaposto testo 54"/>
          <p:cNvSpPr>
            <a:spLocks noGrp="1"/>
          </p:cNvSpPr>
          <p:nvPr>
            <p:ph type="body" sz="quarter" idx="45"/>
          </p:nvPr>
        </p:nvSpPr>
        <p:spPr>
          <a:xfrm>
            <a:off x="528000" y="1939784"/>
            <a:ext cx="5520000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2" name="Segnaposto testo 54"/>
          <p:cNvSpPr>
            <a:spLocks noGrp="1"/>
          </p:cNvSpPr>
          <p:nvPr>
            <p:ph type="body" sz="quarter" idx="46"/>
          </p:nvPr>
        </p:nvSpPr>
        <p:spPr>
          <a:xfrm>
            <a:off x="528000" y="2093721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3" name="Segnaposto testo 54"/>
          <p:cNvSpPr>
            <a:spLocks noGrp="1"/>
          </p:cNvSpPr>
          <p:nvPr>
            <p:ph type="body" sz="quarter" idx="47"/>
          </p:nvPr>
        </p:nvSpPr>
        <p:spPr>
          <a:xfrm>
            <a:off x="528000" y="2632512"/>
            <a:ext cx="5520000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4" name="Segnaposto testo 54"/>
          <p:cNvSpPr>
            <a:spLocks noGrp="1"/>
          </p:cNvSpPr>
          <p:nvPr>
            <p:ph type="body" sz="quarter" idx="48"/>
          </p:nvPr>
        </p:nvSpPr>
        <p:spPr>
          <a:xfrm>
            <a:off x="528000" y="2786449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5" name="Segnaposto testo 54"/>
          <p:cNvSpPr>
            <a:spLocks noGrp="1"/>
          </p:cNvSpPr>
          <p:nvPr>
            <p:ph type="body" sz="quarter" idx="49"/>
          </p:nvPr>
        </p:nvSpPr>
        <p:spPr>
          <a:xfrm>
            <a:off x="528000" y="3332936"/>
            <a:ext cx="5520000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6" name="Segnaposto testo 54"/>
          <p:cNvSpPr>
            <a:spLocks noGrp="1"/>
          </p:cNvSpPr>
          <p:nvPr>
            <p:ph type="body" sz="quarter" idx="50"/>
          </p:nvPr>
        </p:nvSpPr>
        <p:spPr>
          <a:xfrm>
            <a:off x="528000" y="3486873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7" name="Segnaposto testo 54"/>
          <p:cNvSpPr>
            <a:spLocks noGrp="1"/>
          </p:cNvSpPr>
          <p:nvPr>
            <p:ph type="body" sz="quarter" idx="51"/>
          </p:nvPr>
        </p:nvSpPr>
        <p:spPr>
          <a:xfrm>
            <a:off x="528000" y="4033360"/>
            <a:ext cx="5520000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8" name="Segnaposto testo 54"/>
          <p:cNvSpPr>
            <a:spLocks noGrp="1"/>
          </p:cNvSpPr>
          <p:nvPr>
            <p:ph type="body" sz="quarter" idx="52"/>
          </p:nvPr>
        </p:nvSpPr>
        <p:spPr>
          <a:xfrm>
            <a:off x="528000" y="4187297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9" name="Segnaposto testo 54"/>
          <p:cNvSpPr>
            <a:spLocks noGrp="1"/>
          </p:cNvSpPr>
          <p:nvPr>
            <p:ph type="body" sz="quarter" idx="53"/>
          </p:nvPr>
        </p:nvSpPr>
        <p:spPr>
          <a:xfrm>
            <a:off x="528000" y="4733784"/>
            <a:ext cx="5520000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0" name="Segnaposto testo 54"/>
          <p:cNvSpPr>
            <a:spLocks noGrp="1"/>
          </p:cNvSpPr>
          <p:nvPr>
            <p:ph type="body" sz="quarter" idx="54"/>
          </p:nvPr>
        </p:nvSpPr>
        <p:spPr>
          <a:xfrm>
            <a:off x="528000" y="4887721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1" name="Segnaposto testo 54"/>
          <p:cNvSpPr>
            <a:spLocks noGrp="1"/>
          </p:cNvSpPr>
          <p:nvPr>
            <p:ph type="body" sz="quarter" idx="55"/>
          </p:nvPr>
        </p:nvSpPr>
        <p:spPr>
          <a:xfrm>
            <a:off x="528000" y="5418814"/>
            <a:ext cx="5520000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2" name="Segnaposto testo 54"/>
          <p:cNvSpPr>
            <a:spLocks noGrp="1"/>
          </p:cNvSpPr>
          <p:nvPr>
            <p:ph type="body" sz="quarter" idx="56"/>
          </p:nvPr>
        </p:nvSpPr>
        <p:spPr>
          <a:xfrm>
            <a:off x="528000" y="5572753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3" name="Segnaposto testo 54"/>
          <p:cNvSpPr>
            <a:spLocks noGrp="1"/>
          </p:cNvSpPr>
          <p:nvPr>
            <p:ph type="body" sz="quarter" idx="57"/>
          </p:nvPr>
        </p:nvSpPr>
        <p:spPr>
          <a:xfrm>
            <a:off x="6144000" y="1223965"/>
            <a:ext cx="5490147" cy="169335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4" name="Segnaposto testo 54"/>
          <p:cNvSpPr>
            <a:spLocks noGrp="1"/>
          </p:cNvSpPr>
          <p:nvPr>
            <p:ph type="body" sz="quarter" idx="58"/>
          </p:nvPr>
        </p:nvSpPr>
        <p:spPr>
          <a:xfrm>
            <a:off x="6144002" y="1400995"/>
            <a:ext cx="5490143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5" name="Segnaposto testo 54"/>
          <p:cNvSpPr>
            <a:spLocks noGrp="1"/>
          </p:cNvSpPr>
          <p:nvPr>
            <p:ph type="body" sz="quarter" idx="59"/>
          </p:nvPr>
        </p:nvSpPr>
        <p:spPr>
          <a:xfrm>
            <a:off x="6144000" y="1939784"/>
            <a:ext cx="5493805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6" name="Segnaposto testo 54"/>
          <p:cNvSpPr>
            <a:spLocks noGrp="1"/>
          </p:cNvSpPr>
          <p:nvPr>
            <p:ph type="body" sz="quarter" idx="60"/>
          </p:nvPr>
        </p:nvSpPr>
        <p:spPr>
          <a:xfrm>
            <a:off x="6144000" y="2093721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7" name="Segnaposto testo 54"/>
          <p:cNvSpPr>
            <a:spLocks noGrp="1"/>
          </p:cNvSpPr>
          <p:nvPr>
            <p:ph type="body" sz="quarter" idx="61"/>
          </p:nvPr>
        </p:nvSpPr>
        <p:spPr>
          <a:xfrm>
            <a:off x="6144000" y="2632512"/>
            <a:ext cx="5493805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8" name="Segnaposto testo 54"/>
          <p:cNvSpPr>
            <a:spLocks noGrp="1"/>
          </p:cNvSpPr>
          <p:nvPr>
            <p:ph type="body" sz="quarter" idx="62"/>
          </p:nvPr>
        </p:nvSpPr>
        <p:spPr>
          <a:xfrm>
            <a:off x="6144000" y="2786449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9" name="Segnaposto testo 54"/>
          <p:cNvSpPr>
            <a:spLocks noGrp="1"/>
          </p:cNvSpPr>
          <p:nvPr>
            <p:ph type="body" sz="quarter" idx="63"/>
          </p:nvPr>
        </p:nvSpPr>
        <p:spPr>
          <a:xfrm>
            <a:off x="6144000" y="3332936"/>
            <a:ext cx="5493805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0" name="Segnaposto testo 54"/>
          <p:cNvSpPr>
            <a:spLocks noGrp="1"/>
          </p:cNvSpPr>
          <p:nvPr>
            <p:ph type="body" sz="quarter" idx="64"/>
          </p:nvPr>
        </p:nvSpPr>
        <p:spPr>
          <a:xfrm>
            <a:off x="6144000" y="3486873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1" name="Segnaposto testo 54"/>
          <p:cNvSpPr>
            <a:spLocks noGrp="1"/>
          </p:cNvSpPr>
          <p:nvPr>
            <p:ph type="body" sz="quarter" idx="65"/>
          </p:nvPr>
        </p:nvSpPr>
        <p:spPr>
          <a:xfrm>
            <a:off x="6144000" y="4033360"/>
            <a:ext cx="5493805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2" name="Segnaposto testo 54"/>
          <p:cNvSpPr>
            <a:spLocks noGrp="1"/>
          </p:cNvSpPr>
          <p:nvPr>
            <p:ph type="body" sz="quarter" idx="66"/>
          </p:nvPr>
        </p:nvSpPr>
        <p:spPr>
          <a:xfrm>
            <a:off x="6144000" y="4187297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3" name="Segnaposto testo 54"/>
          <p:cNvSpPr>
            <a:spLocks noGrp="1"/>
          </p:cNvSpPr>
          <p:nvPr>
            <p:ph type="body" sz="quarter" idx="67"/>
          </p:nvPr>
        </p:nvSpPr>
        <p:spPr>
          <a:xfrm>
            <a:off x="6144000" y="4733784"/>
            <a:ext cx="5493805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4" name="Segnaposto testo 54"/>
          <p:cNvSpPr>
            <a:spLocks noGrp="1"/>
          </p:cNvSpPr>
          <p:nvPr>
            <p:ph type="body" sz="quarter" idx="68"/>
          </p:nvPr>
        </p:nvSpPr>
        <p:spPr>
          <a:xfrm>
            <a:off x="6144000" y="4887721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5" name="Segnaposto testo 54"/>
          <p:cNvSpPr>
            <a:spLocks noGrp="1"/>
          </p:cNvSpPr>
          <p:nvPr>
            <p:ph type="body" sz="quarter" idx="69"/>
          </p:nvPr>
        </p:nvSpPr>
        <p:spPr>
          <a:xfrm>
            <a:off x="6144000" y="5418814"/>
            <a:ext cx="5493805" cy="146097"/>
          </a:xfrm>
        </p:spPr>
        <p:txBody>
          <a:bodyPr/>
          <a:lstStyle>
            <a:lvl1pPr>
              <a:defRPr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6" name="Segnaposto testo 54"/>
          <p:cNvSpPr>
            <a:spLocks noGrp="1"/>
          </p:cNvSpPr>
          <p:nvPr>
            <p:ph type="body" sz="quarter" idx="70"/>
          </p:nvPr>
        </p:nvSpPr>
        <p:spPr>
          <a:xfrm>
            <a:off x="6144000" y="5572753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Segnaposto numero diapositiva 5"/>
          <p:cNvSpPr>
            <a:spLocks noGrp="1"/>
          </p:cNvSpPr>
          <p:nvPr>
            <p:ph type="sldNum" sz="quarter" idx="71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AC97215-EC0B-4841-AA86-58C07385D66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5634872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Next ev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3"/>
          <p:cNvSpPr txBox="1">
            <a:spLocks noChangeArrowheads="1"/>
          </p:cNvSpPr>
          <p:nvPr userDrawn="1"/>
        </p:nvSpPr>
        <p:spPr bwMode="auto">
          <a:xfrm>
            <a:off x="476251" y="715964"/>
            <a:ext cx="3486149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7"/>
              </a:spcBef>
              <a:defRPr/>
            </a:pPr>
            <a:r>
              <a:rPr lang="it-IT" altLang="en-US" sz="2667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ext</a:t>
            </a:r>
            <a:r>
              <a:rPr lang="it-IT" altLang="en-US" sz="2667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altLang="en-US" sz="2667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vents</a:t>
            </a:r>
            <a:endParaRPr lang="en-US" altLang="en-US" sz="2667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Segnaposto testo 54"/>
          <p:cNvSpPr>
            <a:spLocks noGrp="1"/>
          </p:cNvSpPr>
          <p:nvPr>
            <p:ph type="body" sz="quarter" idx="43"/>
          </p:nvPr>
        </p:nvSpPr>
        <p:spPr>
          <a:xfrm>
            <a:off x="528000" y="1223965"/>
            <a:ext cx="5520000" cy="169335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0" name="Segnaposto testo 54"/>
          <p:cNvSpPr>
            <a:spLocks noGrp="1"/>
          </p:cNvSpPr>
          <p:nvPr>
            <p:ph type="body" sz="quarter" idx="44"/>
          </p:nvPr>
        </p:nvSpPr>
        <p:spPr>
          <a:xfrm>
            <a:off x="528000" y="1400995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1" name="Segnaposto testo 54"/>
          <p:cNvSpPr>
            <a:spLocks noGrp="1"/>
          </p:cNvSpPr>
          <p:nvPr>
            <p:ph type="body" sz="quarter" idx="45"/>
          </p:nvPr>
        </p:nvSpPr>
        <p:spPr>
          <a:xfrm>
            <a:off x="528000" y="1939784"/>
            <a:ext cx="5520000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2" name="Segnaposto testo 54"/>
          <p:cNvSpPr>
            <a:spLocks noGrp="1"/>
          </p:cNvSpPr>
          <p:nvPr>
            <p:ph type="body" sz="quarter" idx="46"/>
          </p:nvPr>
        </p:nvSpPr>
        <p:spPr>
          <a:xfrm>
            <a:off x="528000" y="2093721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3" name="Segnaposto testo 54"/>
          <p:cNvSpPr>
            <a:spLocks noGrp="1"/>
          </p:cNvSpPr>
          <p:nvPr>
            <p:ph type="body" sz="quarter" idx="47"/>
          </p:nvPr>
        </p:nvSpPr>
        <p:spPr>
          <a:xfrm>
            <a:off x="528000" y="2632512"/>
            <a:ext cx="5520000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4" name="Segnaposto testo 54"/>
          <p:cNvSpPr>
            <a:spLocks noGrp="1"/>
          </p:cNvSpPr>
          <p:nvPr>
            <p:ph type="body" sz="quarter" idx="48"/>
          </p:nvPr>
        </p:nvSpPr>
        <p:spPr>
          <a:xfrm>
            <a:off x="528000" y="2786449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5" name="Segnaposto testo 54"/>
          <p:cNvSpPr>
            <a:spLocks noGrp="1"/>
          </p:cNvSpPr>
          <p:nvPr>
            <p:ph type="body" sz="quarter" idx="49"/>
          </p:nvPr>
        </p:nvSpPr>
        <p:spPr>
          <a:xfrm>
            <a:off x="528000" y="3332936"/>
            <a:ext cx="5520000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06" name="Segnaposto testo 54"/>
          <p:cNvSpPr>
            <a:spLocks noGrp="1"/>
          </p:cNvSpPr>
          <p:nvPr>
            <p:ph type="body" sz="quarter" idx="50"/>
          </p:nvPr>
        </p:nvSpPr>
        <p:spPr>
          <a:xfrm>
            <a:off x="528000" y="3486873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7" name="Segnaposto testo 54"/>
          <p:cNvSpPr>
            <a:spLocks noGrp="1"/>
          </p:cNvSpPr>
          <p:nvPr>
            <p:ph type="body" sz="quarter" idx="51"/>
          </p:nvPr>
        </p:nvSpPr>
        <p:spPr>
          <a:xfrm>
            <a:off x="528000" y="4033360"/>
            <a:ext cx="5520000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8" name="Segnaposto testo 54"/>
          <p:cNvSpPr>
            <a:spLocks noGrp="1"/>
          </p:cNvSpPr>
          <p:nvPr>
            <p:ph type="body" sz="quarter" idx="52"/>
          </p:nvPr>
        </p:nvSpPr>
        <p:spPr>
          <a:xfrm>
            <a:off x="528000" y="4187297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9" name="Segnaposto testo 54"/>
          <p:cNvSpPr>
            <a:spLocks noGrp="1"/>
          </p:cNvSpPr>
          <p:nvPr>
            <p:ph type="body" sz="quarter" idx="53"/>
          </p:nvPr>
        </p:nvSpPr>
        <p:spPr>
          <a:xfrm>
            <a:off x="528000" y="4733784"/>
            <a:ext cx="5520000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0" name="Segnaposto testo 54"/>
          <p:cNvSpPr>
            <a:spLocks noGrp="1"/>
          </p:cNvSpPr>
          <p:nvPr>
            <p:ph type="body" sz="quarter" idx="54"/>
          </p:nvPr>
        </p:nvSpPr>
        <p:spPr>
          <a:xfrm>
            <a:off x="528000" y="4887721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1" name="Segnaposto testo 54"/>
          <p:cNvSpPr>
            <a:spLocks noGrp="1"/>
          </p:cNvSpPr>
          <p:nvPr>
            <p:ph type="body" sz="quarter" idx="55"/>
          </p:nvPr>
        </p:nvSpPr>
        <p:spPr>
          <a:xfrm>
            <a:off x="528000" y="5418814"/>
            <a:ext cx="5520000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2" name="Segnaposto testo 54"/>
          <p:cNvSpPr>
            <a:spLocks noGrp="1"/>
          </p:cNvSpPr>
          <p:nvPr>
            <p:ph type="body" sz="quarter" idx="56"/>
          </p:nvPr>
        </p:nvSpPr>
        <p:spPr>
          <a:xfrm>
            <a:off x="528000" y="5572753"/>
            <a:ext cx="5520000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3" name="Segnaposto testo 54"/>
          <p:cNvSpPr>
            <a:spLocks noGrp="1"/>
          </p:cNvSpPr>
          <p:nvPr>
            <p:ph type="body" sz="quarter" idx="57"/>
          </p:nvPr>
        </p:nvSpPr>
        <p:spPr>
          <a:xfrm>
            <a:off x="6144000" y="1223965"/>
            <a:ext cx="5490147" cy="169335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4" name="Segnaposto testo 54"/>
          <p:cNvSpPr>
            <a:spLocks noGrp="1"/>
          </p:cNvSpPr>
          <p:nvPr>
            <p:ph type="body" sz="quarter" idx="58"/>
          </p:nvPr>
        </p:nvSpPr>
        <p:spPr>
          <a:xfrm>
            <a:off x="6144002" y="1400995"/>
            <a:ext cx="5490143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5" name="Segnaposto testo 54"/>
          <p:cNvSpPr>
            <a:spLocks noGrp="1"/>
          </p:cNvSpPr>
          <p:nvPr>
            <p:ph type="body" sz="quarter" idx="59"/>
          </p:nvPr>
        </p:nvSpPr>
        <p:spPr>
          <a:xfrm>
            <a:off x="6144000" y="1939784"/>
            <a:ext cx="5493805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6" name="Segnaposto testo 54"/>
          <p:cNvSpPr>
            <a:spLocks noGrp="1"/>
          </p:cNvSpPr>
          <p:nvPr>
            <p:ph type="body" sz="quarter" idx="60"/>
          </p:nvPr>
        </p:nvSpPr>
        <p:spPr>
          <a:xfrm>
            <a:off x="6144000" y="2093721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7" name="Segnaposto testo 54"/>
          <p:cNvSpPr>
            <a:spLocks noGrp="1"/>
          </p:cNvSpPr>
          <p:nvPr>
            <p:ph type="body" sz="quarter" idx="61"/>
          </p:nvPr>
        </p:nvSpPr>
        <p:spPr>
          <a:xfrm>
            <a:off x="6144000" y="2632512"/>
            <a:ext cx="5493805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8" name="Segnaposto testo 54"/>
          <p:cNvSpPr>
            <a:spLocks noGrp="1"/>
          </p:cNvSpPr>
          <p:nvPr>
            <p:ph type="body" sz="quarter" idx="62"/>
          </p:nvPr>
        </p:nvSpPr>
        <p:spPr>
          <a:xfrm>
            <a:off x="6144000" y="2786449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9" name="Segnaposto testo 54"/>
          <p:cNvSpPr>
            <a:spLocks noGrp="1"/>
          </p:cNvSpPr>
          <p:nvPr>
            <p:ph type="body" sz="quarter" idx="63"/>
          </p:nvPr>
        </p:nvSpPr>
        <p:spPr>
          <a:xfrm>
            <a:off x="6144000" y="3332936"/>
            <a:ext cx="5493805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0" name="Segnaposto testo 54"/>
          <p:cNvSpPr>
            <a:spLocks noGrp="1"/>
          </p:cNvSpPr>
          <p:nvPr>
            <p:ph type="body" sz="quarter" idx="64"/>
          </p:nvPr>
        </p:nvSpPr>
        <p:spPr>
          <a:xfrm>
            <a:off x="6144000" y="3486873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1" name="Segnaposto testo 54"/>
          <p:cNvSpPr>
            <a:spLocks noGrp="1"/>
          </p:cNvSpPr>
          <p:nvPr>
            <p:ph type="body" sz="quarter" idx="65"/>
          </p:nvPr>
        </p:nvSpPr>
        <p:spPr>
          <a:xfrm>
            <a:off x="6144000" y="4033360"/>
            <a:ext cx="5493805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2" name="Segnaposto testo 54"/>
          <p:cNvSpPr>
            <a:spLocks noGrp="1"/>
          </p:cNvSpPr>
          <p:nvPr>
            <p:ph type="body" sz="quarter" idx="66"/>
          </p:nvPr>
        </p:nvSpPr>
        <p:spPr>
          <a:xfrm>
            <a:off x="6144000" y="4187297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3" name="Segnaposto testo 54"/>
          <p:cNvSpPr>
            <a:spLocks noGrp="1"/>
          </p:cNvSpPr>
          <p:nvPr>
            <p:ph type="body" sz="quarter" idx="67"/>
          </p:nvPr>
        </p:nvSpPr>
        <p:spPr>
          <a:xfrm>
            <a:off x="6144000" y="4733784"/>
            <a:ext cx="5493805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4" name="Segnaposto testo 54"/>
          <p:cNvSpPr>
            <a:spLocks noGrp="1"/>
          </p:cNvSpPr>
          <p:nvPr>
            <p:ph type="body" sz="quarter" idx="68"/>
          </p:nvPr>
        </p:nvSpPr>
        <p:spPr>
          <a:xfrm>
            <a:off x="6144000" y="4887721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5" name="Segnaposto testo 54"/>
          <p:cNvSpPr>
            <a:spLocks noGrp="1"/>
          </p:cNvSpPr>
          <p:nvPr>
            <p:ph type="body" sz="quarter" idx="69"/>
          </p:nvPr>
        </p:nvSpPr>
        <p:spPr>
          <a:xfrm>
            <a:off x="6144000" y="5418814"/>
            <a:ext cx="5493805" cy="146097"/>
          </a:xfrm>
        </p:spPr>
        <p:txBody>
          <a:bodyPr/>
          <a:lstStyle>
            <a:lvl1pPr>
              <a:defRPr b="1" baseline="0">
                <a:solidFill>
                  <a:schemeClr val="tx2"/>
                </a:solidFill>
              </a:defRPr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6" name="Segnaposto testo 54"/>
          <p:cNvSpPr>
            <a:spLocks noGrp="1"/>
          </p:cNvSpPr>
          <p:nvPr>
            <p:ph type="body" sz="quarter" idx="70"/>
          </p:nvPr>
        </p:nvSpPr>
        <p:spPr>
          <a:xfrm>
            <a:off x="6144000" y="5572753"/>
            <a:ext cx="5493755" cy="415491"/>
          </a:xfrm>
        </p:spPr>
        <p:txBody>
          <a:bodyPr/>
          <a:lstStyle>
            <a:lvl1pPr>
              <a:lnSpc>
                <a:spcPts val="2267"/>
              </a:lnSpc>
              <a:defRPr sz="2000" b="1" i="0" baseline="0"/>
            </a:lvl1pPr>
            <a:lvl4pPr marL="977876" indent="-239178">
              <a:tabLst>
                <a:tab pos="482588" algn="l"/>
                <a:tab pos="717533" algn="l"/>
                <a:tab pos="1077357" algn="l"/>
              </a:tabLst>
              <a:defRPr/>
            </a:lvl4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Segnaposto numero diapositiva 5"/>
          <p:cNvSpPr>
            <a:spLocks noGrp="1"/>
          </p:cNvSpPr>
          <p:nvPr>
            <p:ph type="sldNum" sz="quarter" idx="71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5AC97215-EC0B-4841-AA86-58C07385D66D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18405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a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/>
          <p:cNvSpPr>
            <a:spLocks noGrp="1"/>
          </p:cNvSpPr>
          <p:nvPr>
            <p:ph type="ctrTitle"/>
          </p:nvPr>
        </p:nvSpPr>
        <p:spPr>
          <a:xfrm>
            <a:off x="480000" y="720000"/>
            <a:ext cx="11182248" cy="235475"/>
          </a:xfr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it-IT" dirty="0"/>
          </a:p>
        </p:txBody>
      </p:sp>
      <p:sp>
        <p:nvSpPr>
          <p:cNvPr id="11" name="Sottotitolo 2"/>
          <p:cNvSpPr>
            <a:spLocks noGrp="1"/>
          </p:cNvSpPr>
          <p:nvPr>
            <p:ph type="subTitle" idx="1"/>
          </p:nvPr>
        </p:nvSpPr>
        <p:spPr>
          <a:xfrm>
            <a:off x="480000" y="3095999"/>
            <a:ext cx="11182248" cy="720000"/>
          </a:xfrm>
        </p:spPr>
        <p:txBody>
          <a:bodyPr>
            <a:noAutofit/>
          </a:bodyPr>
          <a:lstStyle>
            <a:lvl1pPr marL="0" indent="0" algn="l">
              <a:lnSpc>
                <a:spcPts val="3200"/>
              </a:lnSpc>
              <a:spcBef>
                <a:spcPts val="0"/>
              </a:spcBef>
              <a:buNone/>
              <a:defRPr sz="2667" baseline="0">
                <a:solidFill>
                  <a:schemeClr val="bg1">
                    <a:lumMod val="50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it-IT" dirty="0"/>
          </a:p>
        </p:txBody>
      </p:sp>
      <p:sp>
        <p:nvSpPr>
          <p:cNvPr id="12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80000" y="2124000"/>
            <a:ext cx="11182248" cy="864000"/>
          </a:xfrm>
        </p:spPr>
        <p:txBody>
          <a:bodyPr/>
          <a:lstStyle>
            <a:lvl1pPr>
              <a:lnSpc>
                <a:spcPts val="4667"/>
              </a:lnSpc>
              <a:defRPr sz="4400" b="1" i="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11374967" y="252413"/>
            <a:ext cx="289984" cy="177800"/>
          </a:xfrm>
        </p:spPr>
        <p:txBody>
          <a:bodyPr/>
          <a:lstStyle>
            <a:lvl1pPr marL="0" algn="r" defTabSz="609585" rtl="0" eaLnBrk="1" latinLnBrk="0" hangingPunct="1">
              <a:defRPr lang="en-US" sz="9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0192001-CFCC-4E0C-9563-94F7B9830246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5406397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7"/>
          <p:cNvPicPr preferRelativeResize="0">
            <a:picLocks/>
          </p:cNvPicPr>
          <p:nvPr userDrawn="1"/>
        </p:nvPicPr>
        <p:blipFill>
          <a:blip r:embed="rId2"/>
          <a:srcRect r="21049"/>
          <a:stretch>
            <a:fillRect/>
          </a:stretch>
        </p:blipFill>
        <p:spPr bwMode="auto">
          <a:xfrm>
            <a:off x="0" y="0"/>
            <a:ext cx="26458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asellaDiTesto 10"/>
          <p:cNvSpPr txBox="1">
            <a:spLocks noChangeArrowheads="1"/>
          </p:cNvSpPr>
          <p:nvPr userDrawn="1"/>
        </p:nvSpPr>
        <p:spPr bwMode="auto">
          <a:xfrm>
            <a:off x="480484" y="3024188"/>
            <a:ext cx="1119928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defRPr/>
            </a:pPr>
            <a:r>
              <a:rPr lang="it-IT" altLang="en-US" sz="4400" b="1" dirty="0">
                <a:solidFill>
                  <a:schemeClr val="tx2"/>
                </a:solidFill>
              </a:rPr>
              <a:t>Grazie.</a:t>
            </a:r>
          </a:p>
        </p:txBody>
      </p:sp>
      <p:grpSp>
        <p:nvGrpSpPr>
          <p:cNvPr id="19" name="Gruppo 18"/>
          <p:cNvGrpSpPr/>
          <p:nvPr userDrawn="1"/>
        </p:nvGrpSpPr>
        <p:grpSpPr>
          <a:xfrm>
            <a:off x="9224335" y="5681670"/>
            <a:ext cx="2440477" cy="346597"/>
            <a:chOff x="6640522" y="4261252"/>
            <a:chExt cx="2110256" cy="230981"/>
          </a:xfrm>
        </p:grpSpPr>
        <p:pic>
          <p:nvPicPr>
            <p:cNvPr id="24" name="Picture 39"/>
            <p:cNvPicPr>
              <a:picLocks noChangeAspect="1"/>
            </p:cNvPicPr>
            <p:nvPr userDrawn="1"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640522" y="4261252"/>
              <a:ext cx="307975" cy="230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" name="Picture 40"/>
            <p:cNvPicPr>
              <a:picLocks noChangeAspect="1"/>
            </p:cNvPicPr>
            <p:nvPr userDrawn="1"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010644" y="4261252"/>
              <a:ext cx="307975" cy="230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41"/>
            <p:cNvPicPr>
              <a:picLocks noChangeAspect="1"/>
            </p:cNvPicPr>
            <p:nvPr userDrawn="1"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7373056" y="4261252"/>
              <a:ext cx="307975" cy="230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42"/>
            <p:cNvPicPr>
              <a:picLocks noChangeAspect="1"/>
            </p:cNvPicPr>
            <p:nvPr userDrawn="1"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726836" y="4261252"/>
              <a:ext cx="307975" cy="230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43"/>
            <p:cNvPicPr>
              <a:picLocks noChangeAspect="1"/>
            </p:cNvPicPr>
            <p:nvPr userDrawn="1"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8442803" y="4261252"/>
              <a:ext cx="307975" cy="230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44"/>
            <p:cNvPicPr>
              <a:picLocks noChangeAspect="1"/>
            </p:cNvPicPr>
            <p:nvPr userDrawn="1"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8087203" y="4261252"/>
              <a:ext cx="307975" cy="230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98946515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11385610" y="273559"/>
            <a:ext cx="266889" cy="178319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el-GR" smtClean="0">
                <a:solidFill>
                  <a:srgbClr val="BD2027"/>
                </a:solidFill>
              </a:rPr>
              <a:pPr/>
              <a:t>‹#›</a:t>
            </a:fld>
            <a:endParaRPr lang="el-GR" dirty="0">
              <a:solidFill>
                <a:srgbClr val="BD2027"/>
              </a:solidFill>
            </a:endParaRPr>
          </a:p>
        </p:txBody>
      </p:sp>
      <p:sp>
        <p:nvSpPr>
          <p:cNvPr id="10" name="Segnaposto data 3"/>
          <p:cNvSpPr>
            <a:spLocks noGrp="1"/>
          </p:cNvSpPr>
          <p:nvPr>
            <p:ph type="dt" sz="half" idx="10"/>
          </p:nvPr>
        </p:nvSpPr>
        <p:spPr>
          <a:xfrm>
            <a:off x="4905605" y="6459985"/>
            <a:ext cx="1066420" cy="1143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933">
                <a:solidFill>
                  <a:schemeClr val="tx2"/>
                </a:solidFill>
              </a:defRPr>
            </a:lvl1pPr>
          </a:lstStyle>
          <a:p>
            <a:pPr defTabSz="609585"/>
            <a:endParaRPr lang="it-IT" dirty="0">
              <a:solidFill>
                <a:srgbClr val="BD2027"/>
              </a:solidFill>
            </a:endParaRPr>
          </a:p>
        </p:txBody>
      </p:sp>
      <p:sp>
        <p:nvSpPr>
          <p:cNvPr id="12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6151067" y="6459986"/>
            <a:ext cx="3860800" cy="1143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933" baseline="0">
                <a:solidFill>
                  <a:schemeClr val="tx2"/>
                </a:solidFill>
              </a:defRPr>
            </a:lvl1pPr>
          </a:lstStyle>
          <a:p>
            <a:pPr defTabSz="609585"/>
            <a:endParaRPr lang="it-IT" dirty="0">
              <a:solidFill>
                <a:srgbClr val="BD2027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463067" y="451877"/>
            <a:ext cx="11182248" cy="557459"/>
          </a:xfr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63067" y="1070623"/>
            <a:ext cx="11182248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55" y="1682752"/>
            <a:ext cx="11188700" cy="437832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463067" y="273559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88000" cy="9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99743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Chart + Tex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6135586" y="1682752"/>
            <a:ext cx="5509737" cy="437832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17" name="Segnaposto grafico 20"/>
          <p:cNvSpPr>
            <a:spLocks noGrp="1"/>
          </p:cNvSpPr>
          <p:nvPr>
            <p:ph type="chart" sz="quarter" idx="17"/>
          </p:nvPr>
        </p:nvSpPr>
        <p:spPr>
          <a:xfrm>
            <a:off x="463090" y="1682752"/>
            <a:ext cx="5501217" cy="4378325"/>
          </a:xfrm>
        </p:spPr>
        <p:txBody>
          <a:bodyPr/>
          <a:lstStyle/>
          <a:p>
            <a:r>
              <a:rPr lang="it-IT"/>
              <a:t>Fare clic sull'icona per inserire un grafico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88000" cy="966080"/>
          </a:xfrm>
          <a:prstGeom prst="rect">
            <a:avLst/>
          </a:prstGeom>
        </p:spPr>
      </p:pic>
      <p:sp>
        <p:nvSpPr>
          <p:cNvPr id="14" name="Titolo 1"/>
          <p:cNvSpPr>
            <a:spLocks noGrp="1"/>
          </p:cNvSpPr>
          <p:nvPr>
            <p:ph type="ctrTitle" hasCustomPrompt="1"/>
          </p:nvPr>
        </p:nvSpPr>
        <p:spPr>
          <a:xfrm>
            <a:off x="463067" y="451877"/>
            <a:ext cx="11182248" cy="557459"/>
          </a:xfr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6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63067" y="1070623"/>
            <a:ext cx="11182248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609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463074" y="273559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11385608" y="273559"/>
            <a:ext cx="266889" cy="178319"/>
          </a:xfrm>
        </p:spPr>
        <p:txBody>
          <a:bodyPr lIns="0" tIns="0" rIns="0" bIns="0" anchor="t" anchorCtr="0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>
                <a:solidFill>
                  <a:srgbClr val="BD2027"/>
                </a:solidFill>
              </a:rPr>
              <a:pPr/>
              <a:t>‹#›</a:t>
            </a:fld>
            <a:endParaRPr lang="it-IT" dirty="0">
              <a:solidFill>
                <a:srgbClr val="BD20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0317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7667" y="452439"/>
            <a:ext cx="2796117" cy="2530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9"/>
            <a:ext cx="8185149" cy="2530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B84E1B-D7A8-4025-92D7-F0570A0656F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70690011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text + Picture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66" y="1682752"/>
            <a:ext cx="5509737" cy="437832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18" name="Segnaposto immagine 16"/>
          <p:cNvSpPr>
            <a:spLocks noGrp="1"/>
          </p:cNvSpPr>
          <p:nvPr>
            <p:ph type="pic" sz="quarter" idx="16"/>
          </p:nvPr>
        </p:nvSpPr>
        <p:spPr>
          <a:xfrm>
            <a:off x="6151053" y="1682752"/>
            <a:ext cx="5501217" cy="4378325"/>
          </a:xfrm>
        </p:spPr>
        <p:txBody>
          <a:bodyPr/>
          <a:lstStyle/>
          <a:p>
            <a:r>
              <a:rPr lang="it-IT"/>
              <a:t>Fare clic sull'icona per inserire un'immagine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 cstate="print"/>
          <a:srcRect l="1" r="14959" b="85913"/>
          <a:stretch/>
        </p:blipFill>
        <p:spPr>
          <a:xfrm>
            <a:off x="0" y="0"/>
            <a:ext cx="288000" cy="966080"/>
          </a:xfrm>
          <a:prstGeom prst="rect">
            <a:avLst/>
          </a:prstGeom>
        </p:spPr>
      </p:pic>
      <p:sp>
        <p:nvSpPr>
          <p:cNvPr id="19" name="Titolo 1"/>
          <p:cNvSpPr>
            <a:spLocks noGrp="1"/>
          </p:cNvSpPr>
          <p:nvPr>
            <p:ph type="ctrTitle" hasCustomPrompt="1"/>
          </p:nvPr>
        </p:nvSpPr>
        <p:spPr>
          <a:xfrm>
            <a:off x="463067" y="451877"/>
            <a:ext cx="11182248" cy="557459"/>
          </a:xfr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20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63067" y="1070623"/>
            <a:ext cx="11182248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609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5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4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463074" y="273559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11385608" y="273559"/>
            <a:ext cx="266889" cy="178319"/>
          </a:xfrm>
        </p:spPr>
        <p:txBody>
          <a:bodyPr lIns="0" tIns="0" rIns="0" bIns="0" anchor="t" anchorCtr="0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6154246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11385608" y="273559"/>
            <a:ext cx="266889" cy="178319"/>
          </a:xfrm>
        </p:spPr>
        <p:txBody>
          <a:bodyPr lIns="0" tIns="0" rIns="0" bIns="0" anchor="t" anchorCtr="0"/>
          <a:lstStyle>
            <a:lvl1pPr algn="r">
              <a:defRPr sz="933">
                <a:solidFill>
                  <a:schemeClr val="tx2"/>
                </a:solidFill>
              </a:defRPr>
            </a:lvl1pPr>
          </a:lstStyle>
          <a:p>
            <a:fld id="{C465A074-71B0-1C47-A455-7677837C124E}" type="slidenum">
              <a:rPr lang="it-IT" smtClean="0"/>
              <a:pPr/>
              <a:t>‹#›</a:t>
            </a:fld>
            <a:endParaRPr lang="it-IT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l="1" r="14959" b="85913"/>
          <a:stretch/>
        </p:blipFill>
        <p:spPr>
          <a:xfrm>
            <a:off x="0" y="0"/>
            <a:ext cx="288000" cy="966080"/>
          </a:xfrm>
          <a:prstGeom prst="rect">
            <a:avLst/>
          </a:prstGeom>
        </p:spPr>
      </p:pic>
      <p:sp>
        <p:nvSpPr>
          <p:cNvPr id="13" name="Titolo 1"/>
          <p:cNvSpPr>
            <a:spLocks noGrp="1"/>
          </p:cNvSpPr>
          <p:nvPr>
            <p:ph type="ctrTitle" hasCustomPrompt="1"/>
          </p:nvPr>
        </p:nvSpPr>
        <p:spPr>
          <a:xfrm>
            <a:off x="463067" y="451877"/>
            <a:ext cx="11182248" cy="557459"/>
          </a:xfrm>
        </p:spPr>
        <p:txBody>
          <a:bodyPr/>
          <a:lstStyle>
            <a:lvl1pPr>
              <a:lnSpc>
                <a:spcPts val="2933"/>
              </a:lnSpc>
              <a:defRPr sz="2667" b="0" i="0" baseline="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Slide 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20/22pt</a:t>
            </a:r>
          </a:p>
        </p:txBody>
      </p:sp>
      <p:sp>
        <p:nvSpPr>
          <p:cNvPr id="14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63067" y="1070623"/>
            <a:ext cx="11182248" cy="45640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Slide </a:t>
            </a:r>
            <a:r>
              <a:rPr lang="it-IT" dirty="0" err="1"/>
              <a:t>Subtitle</a:t>
            </a:r>
            <a:br>
              <a:rPr lang="it-IT" dirty="0"/>
            </a:br>
            <a:r>
              <a:rPr lang="it-IT" dirty="0" err="1"/>
              <a:t>Arial</a:t>
            </a:r>
            <a:r>
              <a:rPr lang="it-IT" dirty="0"/>
              <a:t> Regular 15/17pt</a:t>
            </a:r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463067" y="273559"/>
            <a:ext cx="2964165" cy="115991"/>
          </a:xfrm>
        </p:spPr>
        <p:txBody>
          <a:bodyPr>
            <a:norm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Section</a:t>
            </a:r>
            <a:r>
              <a:rPr lang="it-IT" dirty="0"/>
              <a:t> 00</a:t>
            </a:r>
          </a:p>
        </p:txBody>
      </p:sp>
      <p:sp>
        <p:nvSpPr>
          <p:cNvPr id="10" name="Segnaposto testo 18"/>
          <p:cNvSpPr>
            <a:spLocks noGrp="1"/>
          </p:cNvSpPr>
          <p:nvPr>
            <p:ph type="body" sz="quarter" idx="14" hasCustomPrompt="1"/>
          </p:nvPr>
        </p:nvSpPr>
        <p:spPr>
          <a:xfrm>
            <a:off x="6135580" y="1682751"/>
            <a:ext cx="5509737" cy="4378325"/>
          </a:xfrm>
        </p:spPr>
        <p:txBody>
          <a:bodyPr tIns="46800"/>
          <a:lstStyle>
            <a:lvl1pPr>
              <a:lnSpc>
                <a:spcPts val="3467"/>
              </a:lnSpc>
              <a:spcBef>
                <a:spcPts val="0"/>
              </a:spcBef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 bla bla bla bla bla bla bla bla </a:t>
            </a:r>
          </a:p>
        </p:txBody>
      </p:sp>
      <p:sp>
        <p:nvSpPr>
          <p:cNvPr id="11" name="Segnaposto testo 18"/>
          <p:cNvSpPr>
            <a:spLocks noGrp="1"/>
          </p:cNvSpPr>
          <p:nvPr>
            <p:ph type="body" sz="quarter" idx="15" hasCustomPrompt="1"/>
          </p:nvPr>
        </p:nvSpPr>
        <p:spPr>
          <a:xfrm>
            <a:off x="463069" y="1682751"/>
            <a:ext cx="5509737" cy="4378325"/>
          </a:xfrm>
        </p:spPr>
        <p:txBody>
          <a:bodyPr tIns="50400"/>
          <a:lstStyle>
            <a:lvl1pPr>
              <a:lnSpc>
                <a:spcPts val="5067"/>
              </a:lnSpc>
              <a:defRPr sz="4800" b="1" i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79%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4370475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sicurazioni Generali Group Strategy Template Lay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egnaposto testo 18"/>
          <p:cNvSpPr>
            <a:spLocks noGrp="1"/>
          </p:cNvSpPr>
          <p:nvPr>
            <p:ph type="body" sz="quarter" idx="16"/>
          </p:nvPr>
        </p:nvSpPr>
        <p:spPr>
          <a:xfrm>
            <a:off x="391947" y="1509185"/>
            <a:ext cx="11184000" cy="4320116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 sz="1733"/>
            </a:lvl1pPr>
            <a:lvl2pPr marL="241294" marR="0" indent="-241294" algn="l" defTabSz="609585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  <a:tabLst/>
              <a:defRPr sz="1733"/>
            </a:lvl2pPr>
            <a:lvl3pPr marL="482588" marR="0" indent="-241294" algn="l" defTabSz="609585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 sz="1733"/>
            </a:lvl3pPr>
            <a:lvl4pPr marL="723882" marR="0" indent="-249760" algn="l" defTabSz="609585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C00000"/>
              </a:buClr>
              <a:buSzTx/>
              <a:buFont typeface="Symbol" panose="05050102010706020507" pitchFamily="18" charset="2"/>
              <a:buChar char="-"/>
              <a:tabLst/>
              <a:defRPr sz="1733"/>
            </a:lvl4pPr>
            <a:lvl5pPr>
              <a:lnSpc>
                <a:spcPct val="100000"/>
              </a:lnSpc>
              <a:spcBef>
                <a:spcPts val="800"/>
              </a:spcBef>
              <a:buClr>
                <a:srgbClr val="C00000"/>
              </a:buCl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7"/>
          </p:nvPr>
        </p:nvSpPr>
        <p:spPr>
          <a:xfrm>
            <a:off x="11542185" y="122572"/>
            <a:ext cx="266700" cy="242801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 defTabSz="609585">
              <a:defRPr sz="933">
                <a:solidFill>
                  <a:srgbClr val="C00000"/>
                </a:solidFill>
                <a:latin typeface="Arial"/>
                <a:ea typeface="+mn-ea"/>
                <a:cs typeface="+mn-cs"/>
                <a:sym typeface="Arial"/>
              </a:defRPr>
            </a:lvl1pPr>
          </a:lstStyle>
          <a:p>
            <a:pPr>
              <a:defRPr/>
            </a:pPr>
            <a:fld id="{EF84E488-9862-49CF-940E-D1874C23848D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Segnaposto testo 15"/>
          <p:cNvSpPr>
            <a:spLocks noGrp="1"/>
          </p:cNvSpPr>
          <p:nvPr>
            <p:ph type="body" sz="quarter" idx="13" hasCustomPrompt="1"/>
          </p:nvPr>
        </p:nvSpPr>
        <p:spPr>
          <a:xfrm>
            <a:off x="387108" y="133324"/>
            <a:ext cx="2964165" cy="119691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lnSpc>
                <a:spcPts val="933"/>
              </a:lnSpc>
              <a:defRPr sz="9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ection 00</a:t>
            </a:r>
          </a:p>
        </p:txBody>
      </p:sp>
      <p:sp>
        <p:nvSpPr>
          <p:cNvPr id="1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87108" y="1101796"/>
            <a:ext cx="11182248" cy="2949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lnSpc>
                <a:spcPts val="2267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lide Subtitle Arial Regular 15/17pt</a:t>
            </a:r>
          </a:p>
        </p:txBody>
      </p:sp>
      <p:sp>
        <p:nvSpPr>
          <p:cNvPr id="12" name="object 3"/>
          <p:cNvSpPr txBox="1"/>
          <p:nvPr userDrawn="1"/>
        </p:nvSpPr>
        <p:spPr>
          <a:xfrm>
            <a:off x="391961" y="6459985"/>
            <a:ext cx="2636247" cy="2614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6933" marR="0" indent="0" algn="l" defTabSz="609585" rtl="0" eaLnBrk="1" fontAlgn="auto" latinLnBrk="0" hangingPunct="1">
              <a:lnSpc>
                <a:spcPct val="95825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 spc="0" dirty="0">
                <a:solidFill>
                  <a:schemeClr val="tx2"/>
                </a:solidFill>
                <a:latin typeface="Arial"/>
                <a:cs typeface="Arial"/>
              </a:rPr>
              <a:t>© </a:t>
            </a:r>
            <a:r>
              <a:rPr lang="en-GB" sz="933" spc="0" baseline="0" dirty="0">
                <a:solidFill>
                  <a:schemeClr val="tx2"/>
                </a:solidFill>
                <a:latin typeface="Arial"/>
                <a:cs typeface="Arial"/>
              </a:rPr>
              <a:t>Assicurazioni Generali</a:t>
            </a:r>
            <a:endParaRPr lang="en-GB" sz="933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pic>
        <p:nvPicPr>
          <p:cNvPr id="19" name="Picture 3" descr="J:\Transfer\PRO Allgemein\Kommunikation\Neue Powerpointvorlage - Group Brand\Balken_Titel.emf"/>
          <p:cNvPicPr preferRelativeResize="0">
            <a:picLocks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495"/>
          <a:stretch/>
        </p:blipFill>
        <p:spPr bwMode="auto">
          <a:xfrm>
            <a:off x="15" y="1"/>
            <a:ext cx="268036" cy="133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83117" y="419879"/>
            <a:ext cx="11184000" cy="41275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Fare </a:t>
            </a:r>
            <a:r>
              <a:rPr lang="en-GB" dirty="0" err="1"/>
              <a:t>clic</a:t>
            </a:r>
            <a:r>
              <a:rPr lang="en-GB" dirty="0"/>
              <a:t> per </a:t>
            </a:r>
            <a:r>
              <a:rPr lang="en-GB" dirty="0" err="1"/>
              <a:t>modificare</a:t>
            </a:r>
            <a:r>
              <a:rPr lang="en-GB" dirty="0"/>
              <a:t> stile</a:t>
            </a:r>
          </a:p>
        </p:txBody>
      </p:sp>
    </p:spTree>
    <p:extLst>
      <p:ext uri="{BB962C8B-B14F-4D97-AF65-F5344CB8AC3E}">
        <p14:creationId xmlns:p14="http://schemas.microsoft.com/office/powerpoint/2010/main" val="2675403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79">
          <p15:clr>
            <a:srgbClr val="FBAE40"/>
          </p15:clr>
        </p15:guide>
        <p15:guide id="2" pos="181">
          <p15:clr>
            <a:srgbClr val="FBAE40"/>
          </p15:clr>
        </p15:guide>
        <p15:guide id="3" pos="2880">
          <p15:clr>
            <a:srgbClr val="FBAE40"/>
          </p15:clr>
        </p15:guide>
        <p15:guide id="4" orient="horz" pos="327">
          <p15:clr>
            <a:srgbClr val="FBAE40"/>
          </p15:clr>
        </p15:guide>
        <p15:guide id="5" orient="horz" pos="1801">
          <p15:clr>
            <a:srgbClr val="FBAE40"/>
          </p15:clr>
        </p15:guide>
        <p15:guide id="6" orient="horz" pos="2913">
          <p15:clr>
            <a:srgbClr val="FBAE40"/>
          </p15:clr>
        </p15:guide>
        <p15:guide id="7" orient="horz" pos="758">
          <p15:clr>
            <a:srgbClr val="FBAE40"/>
          </p15:clr>
        </p15:guide>
        <p15:guide id="8" orient="horz" pos="3026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2FEEEB9-0E59-4795-9C59-23F753A4301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l-GR"/>
              <a:t>18th-19th January 2018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l-GR" dirty="0"/>
              <a:t>Corporate Presentation</a:t>
            </a:r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223858117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06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6069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70114"/>
            <a:ext cx="11180233" cy="866775"/>
          </a:xfrm>
        </p:spPr>
        <p:txBody>
          <a:bodyPr/>
          <a:lstStyle>
            <a:lvl1pPr>
              <a:lnSpc>
                <a:spcPts val="3200"/>
              </a:lnSpc>
              <a:defRPr sz="3300" b="1" smtClean="0">
                <a:solidFill>
                  <a:schemeClr val="tx1"/>
                </a:solidFill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16070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16074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17844841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25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4261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224262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224266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Arial Regular"/>
              </a:defRPr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0158214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61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6612" name="Immagin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6613" name="Segnaposto titolo 1"/>
          <p:cNvSpPr>
            <a:spLocks noGrp="1" noChangeAspect="1"/>
          </p:cNvSpPr>
          <p:nvPr>
            <p:ph type="ctrTitle"/>
          </p:nvPr>
        </p:nvSpPr>
        <p:spPr>
          <a:xfrm>
            <a:off x="459318" y="2130426"/>
            <a:ext cx="11180233" cy="866775"/>
          </a:xfrm>
        </p:spPr>
        <p:txBody>
          <a:bodyPr/>
          <a:lstStyle>
            <a:lvl1pPr>
              <a:lnSpc>
                <a:spcPts val="3500"/>
              </a:lnSpc>
              <a:defRPr sz="3300" b="1" smtClean="0">
                <a:latin typeface="Arial" pitchFamily="34" charset="0"/>
                <a:ea typeface="Arial Italic"/>
              </a:defRPr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19661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3105150"/>
            <a:ext cx="11180233" cy="712788"/>
          </a:xfrm>
        </p:spPr>
        <p:txBody>
          <a:bodyPr/>
          <a:lstStyle>
            <a:lvl1pPr>
              <a:lnSpc>
                <a:spcPts val="2400"/>
              </a:lnSpc>
              <a:defRPr sz="2000" smtClean="0">
                <a:solidFill>
                  <a:srgbClr val="6F7072"/>
                </a:solidFill>
                <a:ea typeface="Arial Regular"/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19661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  <p:sp>
        <p:nvSpPr>
          <p:cNvPr id="19662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9662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</p:spTree>
    <p:extLst>
      <p:ext uri="{BB962C8B-B14F-4D97-AF65-F5344CB8AC3E}">
        <p14:creationId xmlns:p14="http://schemas.microsoft.com/office/powerpoint/2010/main" val="136651125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Immagin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sellaDiTesto 9"/>
          <p:cNvSpPr txBox="1">
            <a:spLocks noChangeArrowheads="1"/>
          </p:cNvSpPr>
          <p:nvPr/>
        </p:nvSpPr>
        <p:spPr bwMode="auto">
          <a:xfrm>
            <a:off x="8449733" y="304800"/>
            <a:ext cx="1905000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Department:</a:t>
            </a:r>
          </a:p>
        </p:txBody>
      </p:sp>
      <p:sp>
        <p:nvSpPr>
          <p:cNvPr id="11" name="CasellaDiTesto 10"/>
          <p:cNvSpPr txBox="1">
            <a:spLocks noChangeArrowheads="1"/>
          </p:cNvSpPr>
          <p:nvPr/>
        </p:nvSpPr>
        <p:spPr bwMode="auto">
          <a:xfrm>
            <a:off x="8449733" y="889001"/>
            <a:ext cx="190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100000"/>
              </a:lnSpc>
              <a:buClrTx/>
              <a:buFontTx/>
              <a:buNone/>
            </a:pPr>
            <a:r>
              <a:rPr lang="it-IT" altLang="el-GR" sz="1200" b="1">
                <a:solidFill>
                  <a:srgbClr val="C21B17"/>
                </a:solidFill>
                <a:latin typeface="Arial" pitchFamily="34" charset="0"/>
              </a:rPr>
              <a:t>Country:</a:t>
            </a: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1"/>
          </p:nvPr>
        </p:nvSpPr>
        <p:spPr>
          <a:xfrm>
            <a:off x="8451585" y="511079"/>
            <a:ext cx="3183467" cy="3556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/>
          </p:nvPr>
        </p:nvSpPr>
        <p:spPr>
          <a:xfrm>
            <a:off x="8451585" y="1096050"/>
            <a:ext cx="3183467" cy="355600"/>
          </a:xfrm>
        </p:spPr>
        <p:txBody>
          <a:bodyPr/>
          <a:lstStyle>
            <a:lvl1pPr>
              <a:defRPr sz="12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2" name="Segnaposto data 3"/>
          <p:cNvSpPr>
            <a:spLocks noGrp="1"/>
          </p:cNvSpPr>
          <p:nvPr>
            <p:ph type="dt" sz="half" idx="13"/>
          </p:nvPr>
        </p:nvSpPr>
        <p:spPr/>
        <p:txBody>
          <a:bodyPr wrap="square" numCol="1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21B17"/>
                </a:solidFill>
                <a:latin typeface="+mn-lt"/>
                <a:ea typeface="Arial Regular"/>
                <a:cs typeface="+mn-cs"/>
              </a:defRPr>
            </a:lvl1pPr>
          </a:lstStyle>
          <a:p>
            <a:r>
              <a:rPr lang="el-GR" altLang="el-GR" dirty="0"/>
              <a:t>01 </a:t>
            </a:r>
            <a:r>
              <a:rPr lang="en-US" altLang="el-GR" dirty="0"/>
              <a:t>September </a:t>
            </a:r>
            <a:r>
              <a:rPr lang="el-GR" altLang="el-GR" dirty="0"/>
              <a:t>2014 </a:t>
            </a:r>
            <a:endParaRPr lang="it-IT" altLang="el-GR" dirty="0"/>
          </a:p>
        </p:txBody>
      </p:sp>
    </p:spTree>
    <p:extLst>
      <p:ext uri="{BB962C8B-B14F-4D97-AF65-F5344CB8AC3E}">
        <p14:creationId xmlns:p14="http://schemas.microsoft.com/office/powerpoint/2010/main" val="736475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85AD0F-FFAB-40F0-BA0D-2345D6863466}" type="slidenum">
              <a:rPr lang="it-IT" altLang="el-GR" smtClean="0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el-GR" dirty="0"/>
              <a:t>01 </a:t>
            </a:r>
            <a:r>
              <a:rPr lang="en-US" dirty="0"/>
              <a:t>September</a:t>
            </a:r>
            <a:r>
              <a:rPr lang="el-GR" dirty="0"/>
              <a:t>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it-IT" altLang="el-GR"/>
          </a:p>
        </p:txBody>
      </p:sp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 userDrawn="1"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then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61626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Agenda</a:t>
            </a:r>
            <a:endParaRPr lang="el-GR" altLang="el-GR" sz="20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463067" y="730606"/>
            <a:ext cx="11182248" cy="235474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4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63067" y="2130426"/>
            <a:ext cx="11182248" cy="869098"/>
          </a:xfrm>
        </p:spPr>
        <p:txBody>
          <a:bodyPr/>
          <a:lstStyle>
            <a:lvl1pPr>
              <a:lnSpc>
                <a:spcPts val="3500"/>
              </a:lnSpc>
              <a:defRPr sz="3300" b="1" i="0" baseline="0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594342A-E8DE-4F92-8BBE-B62503AA7DF9}" type="slidenum">
              <a:rPr lang="it-IT" altLang="el-GR"/>
              <a:pPr/>
              <a:t>‹#›</a:t>
            </a:fld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633556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452438"/>
            <a:ext cx="11180233" cy="5572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9317" y="1679575"/>
            <a:ext cx="11184467" cy="574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317" y="2406651"/>
            <a:ext cx="11184467" cy="576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7A6303FB-035E-4C8F-ADF1-F47B5043336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9166947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</a:t>
            </a:r>
            <a:r>
              <a:rPr lang="en-US" altLang="el-GR" sz="700" baseline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476251" y="1224439"/>
            <a:ext cx="11176000" cy="4861256"/>
          </a:xfrm>
        </p:spPr>
        <p:txBody>
          <a:bodyPr numCol="2" spcCol="216000">
            <a:noAutofit/>
          </a:bodyPr>
          <a:lstStyle>
            <a:lvl1pPr marL="171450" indent="-1714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baseline="0"/>
            </a:lvl1pPr>
            <a:lvl2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baseline="0"/>
            </a:lvl2pPr>
            <a:lvl3pPr marL="5400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baseline="0"/>
            </a:lvl3pPr>
            <a:lvl4pPr marL="734400" indent="-18000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baseline="0"/>
            </a:lvl4pPr>
            <a:lvl5pPr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defRPr sz="1200" baseline="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2E633B9-1E0B-4531-9969-1ECABE69742B}" type="slidenum">
              <a:rPr lang="it-IT" altLang="el-GR"/>
              <a:pPr/>
              <a:t>‹#›</a:t>
            </a:fld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857049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: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 txBox="1">
            <a:spLocks noChangeArrowheads="1"/>
          </p:cNvSpPr>
          <p:nvPr userDrawn="1"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thens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olo 1"/>
          <p:cNvSpPr>
            <a:spLocks noGrp="1"/>
          </p:cNvSpPr>
          <p:nvPr>
            <p:ph type="ctrTitle"/>
          </p:nvPr>
        </p:nvSpPr>
        <p:spPr>
          <a:xfrm>
            <a:off x="463067" y="451877"/>
            <a:ext cx="11182248" cy="557458"/>
          </a:xfrm>
        </p:spPr>
        <p:txBody>
          <a:bodyPr/>
          <a:lstStyle>
            <a:lvl1pPr>
              <a:lnSpc>
                <a:spcPts val="2200"/>
              </a:lnSpc>
              <a:defRPr sz="2000" b="0" i="0" baseline="0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5" name="Sottotitolo 2"/>
          <p:cNvSpPr>
            <a:spLocks noGrp="1"/>
          </p:cNvSpPr>
          <p:nvPr>
            <p:ph type="subTitle" idx="1"/>
          </p:nvPr>
        </p:nvSpPr>
        <p:spPr>
          <a:xfrm>
            <a:off x="463067" y="1070623"/>
            <a:ext cx="11182248" cy="456408"/>
          </a:xfrm>
        </p:spPr>
        <p:txBody>
          <a:bodyPr>
            <a:noAutofit/>
          </a:bodyPr>
          <a:lstStyle>
            <a:lvl1pPr marL="0" indent="0" algn="l">
              <a:lnSpc>
                <a:spcPts val="1700"/>
              </a:lnSpc>
              <a:spcBef>
                <a:spcPts val="0"/>
              </a:spcBef>
              <a:buNone/>
              <a:defRPr sz="1500" baseline="0">
                <a:solidFill>
                  <a:srgbClr val="7F7F7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4"/>
          </p:nvPr>
        </p:nvSpPr>
        <p:spPr>
          <a:xfrm>
            <a:off x="463551" y="1682751"/>
            <a:ext cx="11188700" cy="4378325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13"/>
          </p:nvPr>
        </p:nvSpPr>
        <p:spPr>
          <a:xfrm>
            <a:off x="463067" y="273559"/>
            <a:ext cx="2964165" cy="115990"/>
          </a:xfrm>
        </p:spPr>
        <p:txBody>
          <a:bodyPr>
            <a:normAutofit/>
          </a:bodyPr>
          <a:lstStyle>
            <a:lvl1pPr>
              <a:lnSpc>
                <a:spcPts val="700"/>
              </a:lnSpc>
              <a:defRPr sz="7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A7BC5C8-1637-4607-AE11-1BEF62BBB1C9}" type="slidenum">
              <a:rPr lang="it-IT" altLang="el-GR"/>
              <a:pPr/>
              <a:t>‹#›</a:t>
            </a:fld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6275875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0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463067" y="3105307"/>
            <a:ext cx="11182248" cy="71226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2400"/>
              </a:lnSpc>
              <a:spcBef>
                <a:spcPts val="0"/>
              </a:spcBef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99479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22DA5B-3EDF-4F88-AF2D-58D5790CB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22B18-2C65-489F-9554-48CBBED384B2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2C4F11-E3D5-4099-928E-2E11B36E2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39A0C-0E13-46A1-AA95-227B76082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C07916-A74A-41AC-B716-18E657B40D92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090294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30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230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82308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2309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482310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/>
          <a:lstStyle>
            <a:lvl1pPr>
              <a:lnSpc>
                <a:spcPts val="1700"/>
              </a:lnSpc>
              <a:buFont typeface="Wingdings" pitchFamily="2" charset="2"/>
              <a:buNone/>
              <a:defRPr sz="1500" b="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48231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F9EB5E-0D4E-4020-A09D-7A2359988BC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82905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8BCC682-C924-4183-AC53-C6452677885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6725775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1679575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152" y="1679575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7E417A-3A7D-4B2D-B604-D533C67CD451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816479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F86F96D-04A4-4852-8FC2-EB8765F92B3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804144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934527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49FD230-EB35-460D-B986-86A50A647683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5356459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926FD1-D21C-4182-83F9-B6A872A9B97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0183938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C3D8D7-C724-417F-A07F-FC5AF649CE0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0421872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2C27E9-4EC4-4AE8-9F9C-EE4BF29AD9C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2353026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B4086E-A984-4AAC-8D93-DB74DE9D08F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2827265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7667" y="452439"/>
            <a:ext cx="2796117" cy="2530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9"/>
            <a:ext cx="8185149" cy="2530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F192B4-25CC-426B-8D2D-CC915FA1B4F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1479724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452438"/>
            <a:ext cx="11180233" cy="5572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9317" y="1679575"/>
            <a:ext cx="11184467" cy="574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317" y="2406651"/>
            <a:ext cx="11184467" cy="576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0E7F3990-C4BD-4171-8F86-F5BB5D1EA3D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67248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846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8468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8469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318470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/>
          <a:lstStyle>
            <a:lvl1pPr>
              <a:lnSpc>
                <a:spcPts val="1700"/>
              </a:lnSpc>
              <a:defRPr sz="150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31847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F230971-BD76-4EF1-9D51-B40D5E49EE4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6711682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E60768F-1D2B-4E97-A672-5775661A358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735018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663993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4756150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152" y="4756150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CCEFBD-2737-4B20-80E6-3D47F964519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9994671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A81C28-00DD-4B81-B963-54C7F6BD8B3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1008055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B4917E-5BCE-40B9-8BF7-DD11F5A95033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5063496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FBD935-DD38-47CD-AD67-C51CB1C235F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037149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5FB242-81E9-48C9-8D6F-D108EDDBDD6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9220657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FE28BA-0626-4415-ABD9-DCDD895CA64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8487509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2CC3C0-D4CE-47E2-9A05-2B01D1F71FD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7134055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7667" y="452438"/>
            <a:ext cx="2796117" cy="56070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8"/>
            <a:ext cx="8185149" cy="56070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9D40B20-350E-4FDA-8DFC-FB59ADA18551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8954766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452438"/>
            <a:ext cx="11180233" cy="5572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7" y="4756151"/>
            <a:ext cx="11184467" cy="574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9317" y="5483226"/>
            <a:ext cx="11184467" cy="576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AE7CC82E-DD86-4A7B-8664-A8067BF8D16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6974304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749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47492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7493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44749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/>
          <a:lstStyle>
            <a:lvl1pPr>
              <a:lnSpc>
                <a:spcPts val="1700"/>
              </a:lnSpc>
              <a:buFont typeface="Wingdings" pitchFamily="2" charset="2"/>
              <a:buNone/>
              <a:defRPr sz="1500" b="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44749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36945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DD2DA4F-C9E3-45E0-8E33-C8FD52E8F891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2430564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D93D42-47B4-4701-86A8-88901F4EAFD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5986834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4756150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152" y="4756150"/>
            <a:ext cx="5490633" cy="13033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939AC6-5343-473A-AE60-C6073AA3CE28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621446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62A831-46E0-4582-95C9-DD15DC7CBFBA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4250804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E3BA387-CF05-4612-8147-590C7179CBC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231329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DD0FF1E-5691-47DA-BB30-58D5B9FD493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5912096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68ADFB2-B338-4359-BC79-F0C0FDA064BA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764136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C17D514-4B9E-45CC-A7EE-9D692C8ED60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186894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2703C9-88C0-4DDE-8BD2-56606BDD6EA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440593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7667" y="452438"/>
            <a:ext cx="2796117" cy="56070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8"/>
            <a:ext cx="8185149" cy="56070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019096-4EDC-49D7-A19F-DC3D4FEFBCC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268729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3510983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452438"/>
            <a:ext cx="11180233" cy="5572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7" y="4756151"/>
            <a:ext cx="11184467" cy="574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9317" y="5483226"/>
            <a:ext cx="11184467" cy="576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A41AC860-36A2-4906-870D-A7A9904C794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5751201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984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19844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845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419846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41984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ea"/>
              </a:defRPr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5C2F35-5408-41A0-8F86-9124FF822B43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7254929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F392529-4537-4705-B4BE-B210DE6E1F83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0383574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318" y="1679575"/>
            <a:ext cx="2652183" cy="43767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4701" y="1679575"/>
            <a:ext cx="2654300" cy="43767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82A913D-EF7E-4C51-A09F-E4274A12952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8598459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3606884-8EB2-4B43-A7F4-36BF6B5647F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6970848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E405AF-75C8-4A9C-A0DC-94E999B08ED7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9197450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59C4621-1706-4F75-9777-9476B9F29C68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0207902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355CE4-E2CC-4C7C-8A17-2FF497131388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1670761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C08A63-BDF7-4214-B51B-8768F5F7090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429176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564313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FF4D31-3A34-436A-A1E8-14075094FE7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0030473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5551" y="452439"/>
            <a:ext cx="2794000" cy="5603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9"/>
            <a:ext cx="8183033" cy="5603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3A1856-CC7D-4CC0-9BEE-2BB0EAF2464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7664782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318" y="452438"/>
            <a:ext cx="11180233" cy="5572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9318" y="1679575"/>
            <a:ext cx="2652183" cy="4376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4701" y="1679575"/>
            <a:ext cx="2654300" cy="4376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385551" y="273050"/>
            <a:ext cx="266700" cy="179388"/>
          </a:xfrm>
        </p:spPr>
        <p:txBody>
          <a:bodyPr/>
          <a:lstStyle>
            <a:lvl1pPr>
              <a:defRPr/>
            </a:lvl1pPr>
          </a:lstStyle>
          <a:p>
            <a:fld id="{60F8A762-7D46-42D9-848D-F2A0CF368157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4906434" y="6459538"/>
            <a:ext cx="1064684" cy="1143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6151033" y="6459538"/>
            <a:ext cx="3860800" cy="114300"/>
          </a:xfrm>
        </p:spPr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5836040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57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157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21572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1573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62157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62157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ea"/>
              </a:defRPr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0613A6-993C-4494-A1A0-839FB77952EB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6533976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4D0C93-3383-4DCE-A8D4-DB4263720C4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6273444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551" y="1662114"/>
            <a:ext cx="814916" cy="13858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1667" y="1662114"/>
            <a:ext cx="814917" cy="13858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139257C-1AC6-4240-A92F-6794699D083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14262320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F3CAF4-AD83-429E-85E0-6113D104F7B9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5902437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F754A1-9510-41A2-9C31-3B69BCF5CE1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032598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634F0D-AB2B-4FBB-9480-3D69F940F09A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685546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169834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BDBA9B-1508-4FF1-9BBB-730512EEC43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3255286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AA6A0A3-EE41-4FA0-8FB1-E4BD9A03CA6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5973491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210CC2B-DC22-46C7-BB76-5C40AEB73D2C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9271914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5551" y="452438"/>
            <a:ext cx="2794000" cy="25955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8"/>
            <a:ext cx="8183033" cy="25955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73F69B-057C-4B0E-9C5E-74A43CC731C4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3679953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810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1811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31812" name="Immagin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1813" name="Segnaposto titolo 1"/>
          <p:cNvSpPr>
            <a:spLocks noGrp="1" noChangeAspect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it-IT" altLang="el-GR" noProof="0"/>
              <a:t>Fare clic per modificare lo stile del titolo</a:t>
            </a:r>
          </a:p>
        </p:txBody>
      </p:sp>
      <p:sp>
        <p:nvSpPr>
          <p:cNvPr id="631814" name="Segnaposto testo 2"/>
          <p:cNvSpPr>
            <a:spLocks noGrp="1" noChangeAspect="1"/>
          </p:cNvSpPr>
          <p:nvPr>
            <p:ph type="subTitle" idx="1"/>
          </p:nvPr>
        </p:nvSpPr>
        <p:spPr>
          <a:xfrm>
            <a:off x="459318" y="1068388"/>
            <a:ext cx="11180233" cy="457200"/>
          </a:xfrm>
        </p:spPr>
        <p:txBody>
          <a:bodyPr/>
          <a:lstStyle>
            <a:lvl1pPr>
              <a:lnSpc>
                <a:spcPts val="1700"/>
              </a:lnSpc>
              <a:defRPr sz="1500" b="0">
                <a:solidFill>
                  <a:srgbClr val="6F7072"/>
                </a:solidFill>
              </a:defRPr>
            </a:lvl1pPr>
          </a:lstStyle>
          <a:p>
            <a:pPr lvl="0"/>
            <a:r>
              <a:rPr lang="it-IT" altLang="el-GR" noProof="0"/>
              <a:t>Fare clic per modificare lo stile del sottotitolo dello schema</a:t>
            </a:r>
          </a:p>
        </p:txBody>
      </p:sp>
      <p:pic>
        <p:nvPicPr>
          <p:cNvPr id="63181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Segnaposto data 3"/>
          <p:cNvSpPr>
            <a:spLocks noGrp="1"/>
          </p:cNvSpPr>
          <p:nvPr>
            <p:ph type="dt" sz="half" idx="2"/>
          </p:nvPr>
        </p:nvSpPr>
        <p:spPr/>
        <p:txBody>
          <a:bodyPr/>
          <a:lstStyle>
            <a:lvl1pPr>
              <a:defRPr sz="700"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4" name="Segnaposto piè di pagina 4"/>
          <p:cNvSpPr>
            <a:spLocks noGrp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latin typeface="+mn-ea"/>
              </a:defRPr>
            </a:lvl1pPr>
          </a:lstStyle>
          <a:p>
            <a:endParaRPr lang="it-IT" altLang="el-GR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BD0934A-ED4A-40D6-B2BA-12D688C5A68F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9967272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E290A7E-5F46-4B92-AA8C-F3927B9D38F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0269676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552" y="1679575"/>
            <a:ext cx="5490633" cy="43767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7385" y="1679575"/>
            <a:ext cx="5490633" cy="43767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ADCB1A-AA2E-45E2-8C7D-BF7C6C5E7BA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8298744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D18EE2-361C-4B9E-BEC7-78EB14D677BE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608362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F3FB78-E603-4267-BCC6-D84AFA2540B1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93441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1805443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491EFCD-4C53-4D22-A479-DEA942977D62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75666585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EEAEA70-DD0A-488B-93C0-7401620930F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4565501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9B3023-E183-4A7C-81A6-A3302D79217D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85288309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8E2C558-3918-4AC8-BF2D-F4E1AA3A816C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4566377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452439"/>
            <a:ext cx="2796117" cy="5603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9318" y="452439"/>
            <a:ext cx="8189383" cy="5603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6C5CFB-EA15-4553-9001-EA2C2C13A52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21979110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AF5894-87E6-44B6-8AEA-70E65C304C2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427750035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9299FA5-C1B7-4610-B71E-9B272F42C3F0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10119284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4CE324-7AB7-474E-AAD2-CD276779258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35449471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1D0D6B-7D60-4F30-AF04-B3EDAE08C1DC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6342964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1F4241-275A-49CE-969B-4433A1F50225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it-IT" altLang="el-GR"/>
          </a:p>
        </p:txBody>
      </p:sp>
    </p:spTree>
    <p:extLst>
      <p:ext uri="{BB962C8B-B14F-4D97-AF65-F5344CB8AC3E}">
        <p14:creationId xmlns:p14="http://schemas.microsoft.com/office/powerpoint/2010/main" val="2066701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32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31.xml"/><Relationship Id="rId16" Type="http://schemas.openxmlformats.org/officeDocument/2006/relationships/image" Target="../media/image4.png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39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theme" Target="../theme/theme12.xml"/><Relationship Id="rId22" Type="http://schemas.openxmlformats.org/officeDocument/2006/relationships/image" Target="../media/image10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6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0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7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74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78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theme" Target="../theme/theme16.xml"/><Relationship Id="rId25" Type="http://schemas.openxmlformats.org/officeDocument/2006/relationships/image" Target="../media/image10.png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185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image" Target="../media/image7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5" Type="http://schemas.openxmlformats.org/officeDocument/2006/relationships/slideLayout" Target="../slideLayouts/slideLayout207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slideLayout" Target="../slideLayouts/slideLayout224.xml"/><Relationship Id="rId18" Type="http://schemas.openxmlformats.org/officeDocument/2006/relationships/slideLayout" Target="../slideLayouts/slideLayout229.xml"/><Relationship Id="rId26" Type="http://schemas.openxmlformats.org/officeDocument/2006/relationships/image" Target="../media/image12.emf"/><Relationship Id="rId3" Type="http://schemas.openxmlformats.org/officeDocument/2006/relationships/slideLayout" Target="../slideLayouts/slideLayout214.xml"/><Relationship Id="rId21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3.xml"/><Relationship Id="rId17" Type="http://schemas.openxmlformats.org/officeDocument/2006/relationships/slideLayout" Target="../slideLayouts/slideLayout228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13.xml"/><Relationship Id="rId16" Type="http://schemas.openxmlformats.org/officeDocument/2006/relationships/slideLayout" Target="../slideLayouts/slideLayout227.xml"/><Relationship Id="rId20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23" Type="http://schemas.openxmlformats.org/officeDocument/2006/relationships/theme" Target="../theme/theme19.xml"/><Relationship Id="rId10" Type="http://schemas.openxmlformats.org/officeDocument/2006/relationships/slideLayout" Target="../slideLayouts/slideLayout221.xml"/><Relationship Id="rId19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Relationship Id="rId22" Type="http://schemas.openxmlformats.org/officeDocument/2006/relationships/slideLayout" Target="../slideLayouts/slideLayout23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theme" Target="../theme/theme20.xml"/><Relationship Id="rId5" Type="http://schemas.openxmlformats.org/officeDocument/2006/relationships/slideLayout" Target="../slideLayouts/slideLayout238.xml"/><Relationship Id="rId10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6959C-68A8-4686-B556-C450A16AAEEA}" type="datetimeFigureOut">
              <a:rPr lang="el-GR" smtClean="0"/>
              <a:t>19/1/2024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685DFC-E31F-4055-AF8E-F661D5BE7E63}" type="slidenum">
              <a:rPr lang="el-GR" smtClean="0"/>
              <a:t>‹#›</a:t>
            </a:fld>
            <a:endParaRPr lang="el-GR"/>
          </a:p>
        </p:txBody>
      </p:sp>
      <p:sp>
        <p:nvSpPr>
          <p:cNvPr id="8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E5F34A3-AEA6-43B1-BBF8-739EF109A063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26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3794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3795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73796" name="Immagine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AE2C6509-7938-4B8C-AD15-B74C7EE458D5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673798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73799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Next Steps</a:t>
            </a:r>
            <a:endParaRPr lang="el-GR" altLang="el-GR" sz="20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79457B91-78E0-4BE6-9C6C-03AD46695FC6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</p:sldLayoutIdLst>
  <p:hf hdr="0"/>
  <p:txStyles>
    <p:titleStyle>
      <a:lvl1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800"/>
        </a:lnSpc>
        <a:spcBef>
          <a:spcPct val="0"/>
        </a:spcBef>
        <a:spcAft>
          <a:spcPct val="0"/>
        </a:spcAft>
        <a:buClr>
          <a:srgbClr val="C21B17"/>
        </a:buClr>
        <a:buFont typeface="Arial" pitchFamily="34" charset="0"/>
        <a:buChar char="-"/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²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10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710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87108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7109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687110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63551" y="1679575"/>
            <a:ext cx="11184467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CF332741-A354-4A2F-9D5D-B959B5BF59C2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687112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5A990B93-FA08-40A4-9223-51DE93B8EC5F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918" r:id="rId12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6300"/>
        </a:lnSpc>
        <a:spcBef>
          <a:spcPct val="0"/>
        </a:spcBef>
        <a:spcAft>
          <a:spcPts val="1800"/>
        </a:spcAft>
        <a:defRPr sz="7200" b="1">
          <a:solidFill>
            <a:srgbClr val="C21B17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ts val="4200"/>
        </a:spcBef>
        <a:spcAft>
          <a:spcPct val="0"/>
        </a:spcAft>
        <a:buClr>
          <a:schemeClr val="tx2"/>
        </a:buClr>
        <a:buFont typeface="Wingdings" pitchFamily="2" charset="2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6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656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06564" name="Immagine 1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6565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2130426"/>
            <a:ext cx="11180233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706566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8" y="3105150"/>
            <a:ext cx="11180233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r>
              <a:rPr lang="el-GR" altLang="el-GR"/>
              <a:t>01 Σεπτεμβρίου 2014 </a:t>
            </a:r>
            <a:endParaRPr lang="it-IT" altLang="el-GR"/>
          </a:p>
        </p:txBody>
      </p:sp>
      <p:pic>
        <p:nvPicPr>
          <p:cNvPr id="706568" name="Picture 8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06579" name="Group 19"/>
          <p:cNvGrpSpPr>
            <a:grpSpLocks/>
          </p:cNvGrpSpPr>
          <p:nvPr/>
        </p:nvGrpSpPr>
        <p:grpSpPr bwMode="auto">
          <a:xfrm>
            <a:off x="8847667" y="5678488"/>
            <a:ext cx="2779184" cy="311150"/>
            <a:chOff x="4186" y="3406"/>
            <a:chExt cx="1313" cy="196"/>
          </a:xfrm>
        </p:grpSpPr>
        <p:pic>
          <p:nvPicPr>
            <p:cNvPr id="706572" name="Picture 12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6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3" name="Picture 13"/>
            <p:cNvPicPr>
              <a:picLocks noChangeAspect="1" noChangeArrowheads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1" y="3406"/>
              <a:ext cx="192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4" name="Picture 14"/>
            <p:cNvPicPr>
              <a:picLocks noChangeAspect="1" noChangeArrowheads="1"/>
            </p:cNvPicPr>
            <p:nvPr userDrawn="1"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2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5" name="Picture 15"/>
            <p:cNvPicPr>
              <a:picLocks noChangeAspect="1" noChangeArrowheads="1"/>
            </p:cNvPicPr>
            <p:nvPr userDrawn="1"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" y="3406"/>
              <a:ext cx="192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6" name="Picture 16"/>
            <p:cNvPicPr>
              <a:picLocks noChangeAspect="1" noChangeArrowheads="1"/>
            </p:cNvPicPr>
            <p:nvPr userDrawn="1"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8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7" name="Picture 17"/>
            <p:cNvPicPr>
              <a:picLocks noChangeAspect="1" noChangeArrowheads="1"/>
            </p:cNvPicPr>
            <p:nvPr userDrawn="1"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3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C45AC7FC-F9A7-4B8F-9B50-DD2A5707BC28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19" r:id="rId12"/>
    <p:sldLayoutId id="2147483925" r:id="rId13"/>
  </p:sldLayoutIdLst>
  <p:hf hdr="0"/>
  <p:txStyles>
    <p:titleStyle>
      <a:lvl1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defRPr sz="1000">
          <a:solidFill>
            <a:srgbClr val="6F7072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6F7072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l-GR"/>
              <a:t>01 Σεπτεμβρίου 2014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8A549E-F389-49BE-B242-E71A5974CB73}" type="slidenum">
              <a:rPr lang="el-GR" smtClean="0"/>
              <a:pPr/>
              <a:t>‹#›</a:t>
            </a:fld>
            <a:endParaRPr lang="el-GR"/>
          </a:p>
        </p:txBody>
      </p:sp>
      <p:sp>
        <p:nvSpPr>
          <p:cNvPr id="8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55A6DA9-3011-4653-98C9-7CD9777DD76D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259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2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752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47524" name="Immagine 1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25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2168526"/>
            <a:ext cx="11180233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747526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8" y="3105150"/>
            <a:ext cx="11180233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3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6F7072"/>
                </a:solidFill>
                <a:cs typeface="Arial Regular"/>
              </a:defRPr>
            </a:lvl1pPr>
          </a:lstStyle>
          <a:p>
            <a:fld id="{3E0BEFB7-74DC-453D-9BAE-A240CDF339C3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747531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6F7072"/>
                </a:solidFill>
                <a:latin typeface="Arial" pitchFamily="34" charset="0"/>
                <a:cs typeface="Arial" pitchFamily="34" charset="0"/>
              </a:rPr>
              <a:t>Back-Up</a:t>
            </a:r>
            <a:endParaRPr lang="el-GR" altLang="el-GR" sz="2000">
              <a:solidFill>
                <a:srgbClr val="6F707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4C9983E-29A7-4F43-8846-3582857256B0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hf hdr="0"/>
  <p:txStyles>
    <p:titleStyle>
      <a:lvl1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rgbClr val="6F7072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2400"/>
        </a:lnSpc>
        <a:spcBef>
          <a:spcPct val="0"/>
        </a:spcBef>
        <a:spcAft>
          <a:spcPct val="0"/>
        </a:spcAft>
        <a:defRPr sz="2000">
          <a:solidFill>
            <a:srgbClr val="6F7072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§"/>
        <a:defRPr sz="2000">
          <a:solidFill>
            <a:srgbClr val="6F7072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Font typeface="Lucida Grande"/>
        <a:buChar char="-"/>
        <a:defRPr sz="2000">
          <a:solidFill>
            <a:srgbClr val="6F7072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2000">
          <a:solidFill>
            <a:srgbClr val="6F7072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2000">
          <a:solidFill>
            <a:srgbClr val="6F7072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2000">
          <a:solidFill>
            <a:srgbClr val="6F7072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2000">
          <a:solidFill>
            <a:srgbClr val="6F7072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2000">
          <a:solidFill>
            <a:srgbClr val="6F7072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24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2000">
          <a:solidFill>
            <a:srgbClr val="6F7072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8199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63551" y="1679575"/>
            <a:ext cx="11184467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fld id="{0685AD0F-FFAB-40F0-BA0D-2345D686346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7BDC1FAB-FE74-417C-9B14-0CAE69C6B78F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37" r:id="rId3"/>
    <p:sldLayoutId id="2147483921" r:id="rId4"/>
    <p:sldLayoutId id="2147483965" r:id="rId5"/>
    <p:sldLayoutId id="2147483923" r:id="rId6"/>
    <p:sldLayoutId id="2147483922" r:id="rId7"/>
    <p:sldLayoutId id="2147483924" r:id="rId8"/>
    <p:sldLayoutId id="2147483984" r:id="rId9"/>
    <p:sldLayoutId id="2147484052" r:id="rId10"/>
    <p:sldLayoutId id="2147484067" r:id="rId11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kern="12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6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n-US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Generali Hellas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656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  <a:defRPr/>
            </a:pPr>
            <a:r>
              <a:rPr lang="el-GR" altLang="el-GR" sz="700" dirty="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Αθήνα</a:t>
            </a: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it-IT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 dirty="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06564" name="Immagine 1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1" y="287338"/>
            <a:ext cx="115146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6565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2130426"/>
            <a:ext cx="11180233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706566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8" y="3105150"/>
            <a:ext cx="11180233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r>
              <a:rPr lang="en-US" dirty="0"/>
              <a:t>October</a:t>
            </a:r>
            <a:r>
              <a:rPr lang="el-GR" dirty="0"/>
              <a:t> 2014</a:t>
            </a:r>
            <a:endParaRPr lang="it-IT" dirty="0"/>
          </a:p>
          <a:p>
            <a:endParaRPr lang="it-IT" altLang="el-GR" dirty="0"/>
          </a:p>
        </p:txBody>
      </p:sp>
      <p:pic>
        <p:nvPicPr>
          <p:cNvPr id="706568" name="Picture 8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688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06579" name="Group 19"/>
          <p:cNvGrpSpPr>
            <a:grpSpLocks/>
          </p:cNvGrpSpPr>
          <p:nvPr/>
        </p:nvGrpSpPr>
        <p:grpSpPr bwMode="auto">
          <a:xfrm>
            <a:off x="8847667" y="5678488"/>
            <a:ext cx="2779184" cy="311150"/>
            <a:chOff x="4186" y="3406"/>
            <a:chExt cx="1313" cy="196"/>
          </a:xfrm>
        </p:grpSpPr>
        <p:pic>
          <p:nvPicPr>
            <p:cNvPr id="706572" name="Picture 12"/>
            <p:cNvPicPr>
              <a:picLocks noChangeAspect="1" noChangeArrowheads="1"/>
            </p:cNvPicPr>
            <p:nvPr userDrawn="1"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6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3" name="Picture 13"/>
            <p:cNvPicPr>
              <a:picLocks noChangeAspect="1" noChangeArrowheads="1"/>
            </p:cNvPicPr>
            <p:nvPr userDrawn="1"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1" y="3406"/>
              <a:ext cx="192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4" name="Picture 14"/>
            <p:cNvPicPr>
              <a:picLocks noChangeAspect="1" noChangeArrowheads="1"/>
            </p:cNvPicPr>
            <p:nvPr userDrawn="1"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2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5" name="Picture 15"/>
            <p:cNvPicPr>
              <a:picLocks noChangeAspect="1" noChangeArrowheads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" y="3406"/>
              <a:ext cx="192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6" name="Picture 16"/>
            <p:cNvPicPr>
              <a:picLocks noChangeAspect="1" noChangeArrowheads="1"/>
            </p:cNvPicPr>
            <p:nvPr userDrawn="1"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8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706577" name="Picture 17"/>
            <p:cNvPicPr>
              <a:picLocks noChangeAspect="1" noChangeArrowheads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3" y="3406"/>
              <a:ext cx="196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C52B2CA3-C483-447D-9937-A8AE1346826E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758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4072" r:id="rId13"/>
    <p:sldLayoutId id="2147484073" r:id="rId14"/>
    <p:sldLayoutId id="2147484074" r:id="rId15"/>
    <p:sldLayoutId id="2147484075" r:id="rId16"/>
  </p:sldLayoutIdLst>
  <p:hf hdr="0"/>
  <p:txStyles>
    <p:titleStyle>
      <a:lvl1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3500"/>
        </a:lnSpc>
        <a:spcBef>
          <a:spcPct val="0"/>
        </a:spcBef>
        <a:spcAft>
          <a:spcPct val="0"/>
        </a:spcAft>
        <a:defRPr sz="3300" b="1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defRPr sz="1000">
          <a:solidFill>
            <a:srgbClr val="6F7072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6F7072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defRPr sz="1000">
          <a:solidFill>
            <a:srgbClr val="6F7072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8199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63551" y="1679575"/>
            <a:ext cx="11184467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fld id="{0685AD0F-FFAB-40F0-BA0D-2345D686346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3414A246-DAEE-48B9-ABCD-EB8E9080EC19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023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4" r:id="rId10"/>
    <p:sldLayoutId id="2147484017" r:id="rId11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kern="12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8199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63551" y="1679575"/>
            <a:ext cx="11184467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fld id="{0685AD0F-FFAB-40F0-BA0D-2345D686346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4DF896C-F5FA-4F9D-BC11-F9C8124C13E1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70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kern="12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480484" y="584202"/>
            <a:ext cx="1118446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dirty="0"/>
              <a:t>Fare </a:t>
            </a:r>
            <a:r>
              <a:rPr lang="en-GB" altLang="en-US" noProof="0" dirty="0" err="1"/>
              <a:t>clic</a:t>
            </a:r>
            <a:r>
              <a:rPr lang="en-GB" altLang="en-US" noProof="0" dirty="0"/>
              <a:t> per </a:t>
            </a:r>
            <a:r>
              <a:rPr lang="en-GB" altLang="en-US" noProof="0" dirty="0" err="1"/>
              <a:t>modificare</a:t>
            </a:r>
            <a:r>
              <a:rPr lang="en-GB" altLang="en-US" noProof="0" dirty="0"/>
              <a:t> stile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80484" y="1223965"/>
            <a:ext cx="11184467" cy="4859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dirty="0"/>
              <a:t>Fare </a:t>
            </a:r>
            <a:r>
              <a:rPr lang="en-GB" altLang="en-US" noProof="0" dirty="0" err="1"/>
              <a:t>clic</a:t>
            </a:r>
            <a:r>
              <a:rPr lang="en-GB" altLang="en-US" noProof="0" dirty="0"/>
              <a:t> per </a:t>
            </a:r>
            <a:r>
              <a:rPr lang="en-GB" altLang="en-US" noProof="0" dirty="0" err="1"/>
              <a:t>modificare</a:t>
            </a:r>
            <a:r>
              <a:rPr lang="en-GB" altLang="en-US" noProof="0" dirty="0"/>
              <a:t> </a:t>
            </a:r>
            <a:r>
              <a:rPr lang="en-GB" altLang="en-US" noProof="0" dirty="0" err="1"/>
              <a:t>gli</a:t>
            </a:r>
            <a:r>
              <a:rPr lang="en-GB" altLang="en-US" noProof="0" dirty="0"/>
              <a:t> </a:t>
            </a:r>
            <a:r>
              <a:rPr lang="en-GB" altLang="en-US" noProof="0" dirty="0" err="1"/>
              <a:t>stili</a:t>
            </a:r>
            <a:r>
              <a:rPr lang="en-GB" altLang="en-US" noProof="0" dirty="0"/>
              <a:t> del </a:t>
            </a:r>
            <a:r>
              <a:rPr lang="en-GB" altLang="en-US" noProof="0" dirty="0" err="1"/>
              <a:t>testo</a:t>
            </a:r>
            <a:r>
              <a:rPr lang="en-GB" altLang="en-US" noProof="0" dirty="0"/>
              <a:t> </a:t>
            </a:r>
            <a:r>
              <a:rPr lang="en-GB" altLang="en-US" noProof="0" dirty="0" err="1"/>
              <a:t>dello</a:t>
            </a:r>
            <a:r>
              <a:rPr lang="en-GB" altLang="en-US" noProof="0" dirty="0"/>
              <a:t> schema</a:t>
            </a:r>
          </a:p>
          <a:p>
            <a:pPr lvl="1"/>
            <a:r>
              <a:rPr lang="en-GB" altLang="en-US" noProof="0" dirty="0"/>
              <a:t>Secondo </a:t>
            </a:r>
            <a:r>
              <a:rPr lang="en-GB" altLang="en-US" noProof="0" dirty="0" err="1"/>
              <a:t>livello</a:t>
            </a:r>
            <a:endParaRPr lang="en-GB" altLang="en-US" noProof="0" dirty="0"/>
          </a:p>
          <a:p>
            <a:pPr lvl="2"/>
            <a:r>
              <a:rPr lang="en-GB" altLang="en-US" noProof="0" dirty="0" err="1"/>
              <a:t>Terzo</a:t>
            </a:r>
            <a:r>
              <a:rPr lang="en-GB" altLang="en-US" noProof="0" dirty="0"/>
              <a:t> </a:t>
            </a:r>
            <a:r>
              <a:rPr lang="en-GB" altLang="en-US" noProof="0" dirty="0" err="1"/>
              <a:t>livello</a:t>
            </a:r>
            <a:endParaRPr lang="en-GB" altLang="en-US" noProof="0" dirty="0"/>
          </a:p>
          <a:p>
            <a:pPr lvl="3"/>
            <a:r>
              <a:rPr lang="en-GB" altLang="en-US" noProof="0" dirty="0"/>
              <a:t>Quarto </a:t>
            </a:r>
            <a:r>
              <a:rPr lang="en-GB" altLang="en-US" noProof="0" dirty="0" err="1"/>
              <a:t>livello</a:t>
            </a:r>
            <a:endParaRPr lang="en-GB" altLang="en-US" noProof="0" dirty="0"/>
          </a:p>
          <a:p>
            <a:pPr lvl="4"/>
            <a:r>
              <a:rPr lang="en-GB" altLang="en-US" noProof="0" dirty="0" err="1"/>
              <a:t>Quinto</a:t>
            </a:r>
            <a:r>
              <a:rPr lang="en-GB" altLang="en-US" noProof="0" dirty="0"/>
              <a:t> </a:t>
            </a:r>
            <a:r>
              <a:rPr lang="en-GB" altLang="en-US" noProof="0" dirty="0" err="1"/>
              <a:t>livello</a:t>
            </a:r>
            <a:endParaRPr lang="en-GB" altLang="en-US" noProof="0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74967" y="252413"/>
            <a:ext cx="289984" cy="1793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609585" rtl="0" eaLnBrk="1" fontAlgn="auto" latinLnBrk="0" hangingPunct="1">
              <a:spcBef>
                <a:spcPts val="0"/>
              </a:spcBef>
              <a:spcAft>
                <a:spcPts val="0"/>
              </a:spcAft>
              <a:defRPr lang="it-IT" sz="9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212C012-6F01-4FE9-B699-1FE4D14412BA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3" name="fl" descr=" Internal"/>
          <p:cNvSpPr txBox="1"/>
          <p:nvPr userDrawn="1"/>
        </p:nvSpPr>
        <p:spPr>
          <a:xfrm>
            <a:off x="262467" y="6167967"/>
            <a:ext cx="11811000" cy="37356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/>
            <a:r>
              <a:rPr lang="it-IT" sz="1067" b="0" i="0" u="none" baseline="0" dirty="0">
                <a:solidFill>
                  <a:srgbClr val="990000"/>
                </a:solidFill>
                <a:latin typeface="arial" panose="020B0604020202020204" pitchFamily="34" charset="0"/>
              </a:rPr>
              <a:t>Internal</a:t>
            </a:r>
          </a:p>
        </p:txBody>
      </p:sp>
      <p:sp>
        <p:nvSpPr>
          <p:cNvPr id="4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7942D7DC-33D9-4486-8FFF-24CFD19FD44E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293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  <p:sldLayoutId id="2147484043" r:id="rId15"/>
    <p:sldLayoutId id="2147484044" r:id="rId16"/>
    <p:sldLayoutId id="2147484045" r:id="rId17"/>
    <p:sldLayoutId id="2147484046" r:id="rId18"/>
    <p:sldLayoutId id="2147484047" r:id="rId19"/>
    <p:sldLayoutId id="2147484048" r:id="rId20"/>
    <p:sldLayoutId id="2147484049" r:id="rId21"/>
    <p:sldLayoutId id="2147484070" r:id="rId22"/>
  </p:sldLayoutIdLst>
  <p:hf hdr="0" ftr="0" dt="0"/>
  <p:txStyles>
    <p:titleStyle>
      <a:lvl1pPr algn="l" defTabSz="609585" rtl="0" eaLnBrk="0" fontAlgn="base" hangingPunct="0">
        <a:lnSpc>
          <a:spcPts val="2933"/>
        </a:lnSpc>
        <a:spcBef>
          <a:spcPct val="0"/>
        </a:spcBef>
        <a:spcAft>
          <a:spcPct val="0"/>
        </a:spcAft>
        <a:defRPr lang="it-IT" sz="2667" kern="1200" dirty="0">
          <a:solidFill>
            <a:schemeClr val="tx2"/>
          </a:solidFill>
          <a:latin typeface="Arial"/>
          <a:ea typeface="+mj-ea"/>
          <a:cs typeface="Arial Italic"/>
        </a:defRPr>
      </a:lvl1pPr>
      <a:lvl2pPr algn="l" defTabSz="609585" rtl="0" eaLnBrk="0" fontAlgn="base" hangingPunct="0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2pPr>
      <a:lvl3pPr algn="l" defTabSz="609585" rtl="0" eaLnBrk="0" fontAlgn="base" hangingPunct="0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3pPr>
      <a:lvl4pPr algn="l" defTabSz="609585" rtl="0" eaLnBrk="0" fontAlgn="base" hangingPunct="0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4pPr>
      <a:lvl5pPr algn="l" defTabSz="609585" rtl="0" eaLnBrk="0" fontAlgn="base" hangingPunct="0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5pPr>
      <a:lvl6pPr marL="609585" algn="l" defTabSz="609585" rtl="0" fontAlgn="base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6pPr>
      <a:lvl7pPr marL="1219170" algn="l" defTabSz="609585" rtl="0" fontAlgn="base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7pPr>
      <a:lvl8pPr marL="1828754" algn="l" defTabSz="609585" rtl="0" fontAlgn="base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8pPr>
      <a:lvl9pPr marL="2438339" algn="l" defTabSz="609585" rtl="0" fontAlgn="base">
        <a:lnSpc>
          <a:spcPts val="2933"/>
        </a:lnSpc>
        <a:spcBef>
          <a:spcPct val="0"/>
        </a:spcBef>
        <a:spcAft>
          <a:spcPct val="0"/>
        </a:spcAft>
        <a:defRPr sz="2667">
          <a:solidFill>
            <a:schemeClr val="tx2"/>
          </a:solidFill>
          <a:latin typeface="Arial" pitchFamily="34" charset="0"/>
          <a:ea typeface="Arial Italic"/>
          <a:cs typeface="Arial Italic"/>
        </a:defRPr>
      </a:lvl9pPr>
    </p:titleStyle>
    <p:bodyStyle>
      <a:lvl1pPr algn="l" defTabSz="609585" rtl="0" eaLnBrk="0" fontAlgn="base" hangingPunct="0">
        <a:lnSpc>
          <a:spcPts val="1600"/>
        </a:lnSpc>
        <a:spcBef>
          <a:spcPct val="0"/>
        </a:spcBef>
        <a:spcAft>
          <a:spcPct val="0"/>
        </a:spcAft>
        <a:defRPr sz="1333" kern="1200">
          <a:solidFill>
            <a:schemeClr val="tx1"/>
          </a:solidFill>
          <a:latin typeface="+mn-lt"/>
          <a:ea typeface="+mn-ea"/>
          <a:cs typeface="Arial Regular"/>
        </a:defRPr>
      </a:lvl1pPr>
      <a:lvl2pPr marL="478355" indent="-239178" algn="l" defTabSz="609585" rtl="0" eaLnBrk="0" fontAlgn="base" hangingPunct="0">
        <a:lnSpc>
          <a:spcPts val="16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Arial Regular"/>
        </a:defRPr>
      </a:lvl2pPr>
      <a:lvl3pPr marL="719649" indent="-239178" algn="l" defTabSz="609585" rtl="0" eaLnBrk="0" fontAlgn="base" hangingPunct="0">
        <a:lnSpc>
          <a:spcPts val="1600"/>
        </a:lnSpc>
        <a:spcBef>
          <a:spcPct val="0"/>
        </a:spcBef>
        <a:spcAft>
          <a:spcPct val="0"/>
        </a:spcAft>
        <a:buFont typeface="Lucida Grande"/>
        <a:buChar char="-"/>
        <a:defRPr sz="1333" kern="1200">
          <a:solidFill>
            <a:schemeClr val="tx1"/>
          </a:solidFill>
          <a:latin typeface="+mn-lt"/>
          <a:ea typeface="+mn-ea"/>
          <a:cs typeface="Arial Regular"/>
        </a:defRPr>
      </a:lvl3pPr>
      <a:lvl4pPr marL="977876" indent="-239178" algn="l" defTabSz="609585" rtl="0" eaLnBrk="0" fontAlgn="base" hangingPunct="0">
        <a:lnSpc>
          <a:spcPts val="16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Arial Regular"/>
        </a:defRPr>
      </a:lvl4pPr>
      <a:lvl5pPr marL="1212820" indent="-239178" algn="l" defTabSz="609585" rtl="0" eaLnBrk="0" fontAlgn="base" hangingPunct="0">
        <a:lnSpc>
          <a:spcPts val="16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333" kern="1200">
          <a:solidFill>
            <a:schemeClr val="tx1"/>
          </a:solidFill>
          <a:latin typeface="+mn-lt"/>
          <a:ea typeface="+mn-ea"/>
          <a:cs typeface="Arial Regular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05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105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1060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1061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301062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7" y="1679575"/>
            <a:ext cx="11184467" cy="1303338"/>
          </a:xfrm>
          <a:prstGeom prst="rect">
            <a:avLst/>
          </a:prstGeom>
          <a:noFill/>
          <a:ln w="9525">
            <a:solidFill>
              <a:srgbClr val="D9D9D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2000" tIns="7200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67ABAD91-74A6-4CB5-AFF4-AEBAE0EA566B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301064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2A37C3F-7750-4B57-9BC4-68E2BA33A7E4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911" r:id="rId12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defRPr sz="8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Char char="•"/>
        <a:defRPr sz="80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ü"/>
        <a:defRPr sz="8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5pPr>
      <a:lvl6pPr marL="18923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6pPr>
      <a:lvl7pPr marL="23495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7pPr>
      <a:lvl8pPr marL="28067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8pPr>
      <a:lvl9pPr marL="32639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8199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63551" y="1679575"/>
            <a:ext cx="11184467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fld id="{0685AD0F-FFAB-40F0-BA0D-2345D6863466}" type="slidenum">
              <a:rPr lang="it-IT" altLang="el-GR"/>
              <a:pPr/>
              <a:t>‹#›</a:t>
            </a:fld>
            <a:endParaRPr lang="it-IT" altLang="el-GR"/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+mn-cs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254ADAE-8F10-4ED2-A06F-C519AB113245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8515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kern="12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 Italic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8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128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81284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285" name="Segnaposto titolo 1"/>
          <p:cNvSpPr>
            <a:spLocks noGrp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481286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7" y="1679575"/>
            <a:ext cx="11184467" cy="1303338"/>
          </a:xfrm>
          <a:prstGeom prst="rect">
            <a:avLst/>
          </a:prstGeom>
          <a:noFill/>
          <a:ln w="9525">
            <a:solidFill>
              <a:srgbClr val="D9D9D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2000" tIns="7200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25FF5681-2706-4C78-99D0-9CBC15166518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481288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E60F2B4C-E4B4-4CEA-BA1D-5331C569602E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914" r:id="rId12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v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§"/>
        <a:defRPr sz="80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8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5pPr>
      <a:lvl6pPr marL="18923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6pPr>
      <a:lvl7pPr marL="23495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7pPr>
      <a:lvl8pPr marL="28067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8pPr>
      <a:lvl9pPr marL="32639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42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7443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17444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45" name="Segnaposto titolo 1"/>
          <p:cNvSpPr>
            <a:spLocks noGrp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317446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7" y="4756150"/>
            <a:ext cx="11184467" cy="1303338"/>
          </a:xfrm>
          <a:prstGeom prst="rect">
            <a:avLst/>
          </a:prstGeom>
          <a:noFill/>
          <a:ln w="9525">
            <a:solidFill>
              <a:srgbClr val="D9D9D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2000" tIns="7200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EEC5F7A2-DB80-4B29-B0F7-AAA0DBE2E0FE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317448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23555CB-5501-4D39-9BE3-61A4D5E637D3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912" r:id="rId12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defRPr sz="8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Char char="•"/>
        <a:defRPr sz="80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ü"/>
        <a:defRPr sz="8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5pPr>
      <a:lvl6pPr marL="18923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6pPr>
      <a:lvl7pPr marL="23495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7pPr>
      <a:lvl8pPr marL="28067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8pPr>
      <a:lvl9pPr marL="32639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46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646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46468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6469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446470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7" y="4756150"/>
            <a:ext cx="11184467" cy="1303338"/>
          </a:xfrm>
          <a:prstGeom prst="rect">
            <a:avLst/>
          </a:prstGeom>
          <a:noFill/>
          <a:ln w="9525">
            <a:solidFill>
              <a:srgbClr val="D9D9D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2000" tIns="7200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94BD6260-FDD4-49A2-AB0E-E2F22A81406D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446472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48BDA205-F49D-4AF6-A297-4F99CEB62E6D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915" r:id="rId12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v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rgbClr val="C21B17"/>
        </a:buClr>
        <a:buFont typeface="Wingdings" pitchFamily="2" charset="2"/>
        <a:buChar char="§"/>
        <a:defRPr sz="800">
          <a:solidFill>
            <a:schemeClr val="tx1"/>
          </a:solidFill>
          <a:latin typeface="+mn-lt"/>
          <a:ea typeface="+mn-ea"/>
          <a:cs typeface="+mn-cs"/>
        </a:defRPr>
      </a:lvl2pPr>
      <a:lvl3pPr marL="71755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8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800">
          <a:solidFill>
            <a:schemeClr val="tx1"/>
          </a:solidFill>
          <a:latin typeface="+mn-lt"/>
          <a:ea typeface="+mn-ea"/>
          <a:cs typeface="+mn-cs"/>
        </a:defRPr>
      </a:lvl4pPr>
      <a:lvl5pPr marL="14351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5pPr>
      <a:lvl6pPr marL="18923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6pPr>
      <a:lvl7pPr marL="23495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7pPr>
      <a:lvl8pPr marL="28067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8pPr>
      <a:lvl9pPr marL="3263900" indent="-179388" algn="l" defTabSz="457200" rtl="0" fontAlgn="base">
        <a:lnSpc>
          <a:spcPts val="10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1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881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18820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8821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418822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59317" y="1679575"/>
            <a:ext cx="5509683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15B53946-B7BB-4895-BF2C-947A972D48E9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418824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2B56C44-E851-46C5-ABD5-0FC44D368576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913" r:id="rId12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54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054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20548" name="Immagine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0549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620550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63552" y="1662114"/>
            <a:ext cx="1833033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746633BF-D264-43F4-BA89-767ED48D3AAC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620552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620556" name="Line 12"/>
          <p:cNvSpPr>
            <a:spLocks noChangeShapeType="1"/>
          </p:cNvSpPr>
          <p:nvPr/>
        </p:nvSpPr>
        <p:spPr bwMode="auto">
          <a:xfrm flipV="1">
            <a:off x="463551" y="3748088"/>
            <a:ext cx="11188700" cy="0"/>
          </a:xfrm>
          <a:prstGeom prst="line">
            <a:avLst/>
          </a:prstGeom>
          <a:noFill/>
          <a:ln w="76200">
            <a:solidFill>
              <a:srgbClr val="BD2027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l-GR" sz="2000"/>
          </a:p>
        </p:txBody>
      </p:sp>
      <p:grpSp>
        <p:nvGrpSpPr>
          <p:cNvPr id="620573" name="Group 29"/>
          <p:cNvGrpSpPr>
            <a:grpSpLocks/>
          </p:cNvGrpSpPr>
          <p:nvPr/>
        </p:nvGrpSpPr>
        <p:grpSpPr bwMode="auto">
          <a:xfrm>
            <a:off x="463552" y="3171825"/>
            <a:ext cx="10458449" cy="292100"/>
            <a:chOff x="219" y="1998"/>
            <a:chExt cx="4941" cy="184"/>
          </a:xfrm>
        </p:grpSpPr>
        <p:grpSp>
          <p:nvGrpSpPr>
            <p:cNvPr id="620558" name="Group 14"/>
            <p:cNvGrpSpPr>
              <a:grpSpLocks/>
            </p:cNvGrpSpPr>
            <p:nvPr userDrawn="1"/>
          </p:nvGrpSpPr>
          <p:grpSpPr bwMode="auto">
            <a:xfrm>
              <a:off x="219" y="1998"/>
              <a:ext cx="867" cy="184"/>
              <a:chOff x="219" y="1998"/>
              <a:chExt cx="867" cy="184"/>
            </a:xfrm>
          </p:grpSpPr>
          <p:sp>
            <p:nvSpPr>
              <p:cNvPr id="620559" name="Line 15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60" name="Line 16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61" name="Group 17"/>
            <p:cNvGrpSpPr>
              <a:grpSpLocks/>
            </p:cNvGrpSpPr>
            <p:nvPr userDrawn="1"/>
          </p:nvGrpSpPr>
          <p:grpSpPr bwMode="auto">
            <a:xfrm>
              <a:off x="1235" y="1998"/>
              <a:ext cx="867" cy="184"/>
              <a:chOff x="219" y="1998"/>
              <a:chExt cx="867" cy="184"/>
            </a:xfrm>
          </p:grpSpPr>
          <p:sp>
            <p:nvSpPr>
              <p:cNvPr id="620562" name="Line 18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63" name="Line 19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64" name="Group 20"/>
            <p:cNvGrpSpPr>
              <a:grpSpLocks/>
            </p:cNvGrpSpPr>
            <p:nvPr userDrawn="1"/>
          </p:nvGrpSpPr>
          <p:grpSpPr bwMode="auto">
            <a:xfrm>
              <a:off x="2252" y="1998"/>
              <a:ext cx="867" cy="184"/>
              <a:chOff x="219" y="1998"/>
              <a:chExt cx="867" cy="184"/>
            </a:xfrm>
          </p:grpSpPr>
          <p:sp>
            <p:nvSpPr>
              <p:cNvPr id="620565" name="Line 21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66" name="Line 22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67" name="Group 23"/>
            <p:cNvGrpSpPr>
              <a:grpSpLocks/>
            </p:cNvGrpSpPr>
            <p:nvPr userDrawn="1"/>
          </p:nvGrpSpPr>
          <p:grpSpPr bwMode="auto">
            <a:xfrm>
              <a:off x="3290" y="1998"/>
              <a:ext cx="867" cy="184"/>
              <a:chOff x="219" y="1998"/>
              <a:chExt cx="867" cy="184"/>
            </a:xfrm>
          </p:grpSpPr>
          <p:sp>
            <p:nvSpPr>
              <p:cNvPr id="620568" name="Line 24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69" name="Line 25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70" name="Group 26"/>
            <p:cNvGrpSpPr>
              <a:grpSpLocks/>
            </p:cNvGrpSpPr>
            <p:nvPr userDrawn="1"/>
          </p:nvGrpSpPr>
          <p:grpSpPr bwMode="auto">
            <a:xfrm>
              <a:off x="4293" y="1998"/>
              <a:ext cx="867" cy="184"/>
              <a:chOff x="219" y="1998"/>
              <a:chExt cx="867" cy="184"/>
            </a:xfrm>
          </p:grpSpPr>
          <p:sp>
            <p:nvSpPr>
              <p:cNvPr id="620571" name="Line 27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72" name="Line 28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</p:grpSp>
      <p:grpSp>
        <p:nvGrpSpPr>
          <p:cNvPr id="620592" name="Group 48"/>
          <p:cNvGrpSpPr>
            <a:grpSpLocks/>
          </p:cNvGrpSpPr>
          <p:nvPr/>
        </p:nvGrpSpPr>
        <p:grpSpPr bwMode="auto">
          <a:xfrm>
            <a:off x="1593852" y="4040188"/>
            <a:ext cx="8310033" cy="292100"/>
            <a:chOff x="753" y="2657"/>
            <a:chExt cx="3926" cy="184"/>
          </a:xfrm>
        </p:grpSpPr>
        <p:grpSp>
          <p:nvGrpSpPr>
            <p:cNvPr id="620578" name="Group 34"/>
            <p:cNvGrpSpPr>
              <a:grpSpLocks/>
            </p:cNvGrpSpPr>
            <p:nvPr userDrawn="1"/>
          </p:nvGrpSpPr>
          <p:grpSpPr bwMode="auto">
            <a:xfrm rot="10800000">
              <a:off x="3812" y="2657"/>
              <a:ext cx="867" cy="184"/>
              <a:chOff x="219" y="1998"/>
              <a:chExt cx="867" cy="184"/>
            </a:xfrm>
          </p:grpSpPr>
          <p:sp>
            <p:nvSpPr>
              <p:cNvPr id="620579" name="Line 35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80" name="Line 36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81" name="Group 37"/>
            <p:cNvGrpSpPr>
              <a:grpSpLocks/>
            </p:cNvGrpSpPr>
            <p:nvPr userDrawn="1"/>
          </p:nvGrpSpPr>
          <p:grpSpPr bwMode="auto">
            <a:xfrm rot="10800000">
              <a:off x="2794" y="2657"/>
              <a:ext cx="867" cy="184"/>
              <a:chOff x="219" y="1998"/>
              <a:chExt cx="867" cy="184"/>
            </a:xfrm>
          </p:grpSpPr>
          <p:sp>
            <p:nvSpPr>
              <p:cNvPr id="620582" name="Line 38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83" name="Line 39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84" name="Group 40"/>
            <p:cNvGrpSpPr>
              <a:grpSpLocks/>
            </p:cNvGrpSpPr>
            <p:nvPr userDrawn="1"/>
          </p:nvGrpSpPr>
          <p:grpSpPr bwMode="auto">
            <a:xfrm rot="10800000">
              <a:off x="1756" y="2657"/>
              <a:ext cx="867" cy="184"/>
              <a:chOff x="219" y="1998"/>
              <a:chExt cx="867" cy="184"/>
            </a:xfrm>
          </p:grpSpPr>
          <p:sp>
            <p:nvSpPr>
              <p:cNvPr id="620585" name="Line 41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86" name="Line 42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  <p:grpSp>
          <p:nvGrpSpPr>
            <p:cNvPr id="620587" name="Group 43"/>
            <p:cNvGrpSpPr>
              <a:grpSpLocks/>
            </p:cNvGrpSpPr>
            <p:nvPr userDrawn="1"/>
          </p:nvGrpSpPr>
          <p:grpSpPr bwMode="auto">
            <a:xfrm rot="10800000">
              <a:off x="753" y="2657"/>
              <a:ext cx="867" cy="184"/>
              <a:chOff x="219" y="1998"/>
              <a:chExt cx="867" cy="184"/>
            </a:xfrm>
          </p:grpSpPr>
          <p:sp>
            <p:nvSpPr>
              <p:cNvPr id="620588" name="Line 44"/>
              <p:cNvSpPr>
                <a:spLocks noChangeShapeType="1"/>
              </p:cNvSpPr>
              <p:nvPr userDrawn="1"/>
            </p:nvSpPr>
            <p:spPr bwMode="auto">
              <a:xfrm>
                <a:off x="219" y="1998"/>
                <a:ext cx="867" cy="0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  <p:sp>
            <p:nvSpPr>
              <p:cNvPr id="620589" name="Line 45"/>
              <p:cNvSpPr>
                <a:spLocks noChangeShapeType="1"/>
              </p:cNvSpPr>
              <p:nvPr userDrawn="1"/>
            </p:nvSpPr>
            <p:spPr bwMode="auto">
              <a:xfrm>
                <a:off x="660" y="1998"/>
                <a:ext cx="0" cy="184"/>
              </a:xfrm>
              <a:prstGeom prst="line">
                <a:avLst/>
              </a:prstGeom>
              <a:noFill/>
              <a:ln w="28575">
                <a:solidFill>
                  <a:srgbClr val="BD2027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l-GR" sz="2000"/>
              </a:p>
            </p:txBody>
          </p:sp>
        </p:grpSp>
      </p:grp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D2CBB081-B46F-46C2-993D-B9C8690D5C92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200"/>
        </a:lnSpc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786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0787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30788" name="Immagine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0789" name="Segnaposto titolo 1"/>
          <p:cNvSpPr>
            <a:spLocks noGrp="1" noChangeAspect="1"/>
          </p:cNvSpPr>
          <p:nvPr>
            <p:ph type="title"/>
          </p:nvPr>
        </p:nvSpPr>
        <p:spPr bwMode="auto">
          <a:xfrm>
            <a:off x="459318" y="452438"/>
            <a:ext cx="1118023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stile</a:t>
            </a:r>
          </a:p>
        </p:txBody>
      </p:sp>
      <p:sp>
        <p:nvSpPr>
          <p:cNvPr id="630790" name="Segnaposto testo 2"/>
          <p:cNvSpPr>
            <a:spLocks noGrp="1" noChangeAspect="1"/>
          </p:cNvSpPr>
          <p:nvPr>
            <p:ph type="body" idx="1"/>
          </p:nvPr>
        </p:nvSpPr>
        <p:spPr bwMode="auto">
          <a:xfrm>
            <a:off x="463551" y="1679575"/>
            <a:ext cx="11184467" cy="437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l-GR"/>
              <a:t>Fare clic per modificare gli stili del testo dello schema</a:t>
            </a:r>
          </a:p>
          <a:p>
            <a:pPr lvl="1"/>
            <a:r>
              <a:rPr lang="it-IT" altLang="el-GR"/>
              <a:t>Secondo livello</a:t>
            </a:r>
          </a:p>
          <a:p>
            <a:pPr lvl="2"/>
            <a:r>
              <a:rPr lang="it-IT" altLang="el-GR"/>
              <a:t>Terzo livello</a:t>
            </a:r>
          </a:p>
          <a:p>
            <a:pPr lvl="3"/>
            <a:r>
              <a:rPr lang="it-IT" altLang="el-GR"/>
              <a:t>Quarto livello</a:t>
            </a:r>
          </a:p>
          <a:p>
            <a:pPr lvl="4"/>
            <a:r>
              <a:rPr lang="it-IT" altLang="el-GR"/>
              <a:t>Quinto livello</a:t>
            </a:r>
          </a:p>
        </p:txBody>
      </p:sp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FB07D35F-AA9F-4DB4-9F2C-8894875E26AA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630792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590258F-7D73-40D2-945B-A5D8A70B03EF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hf hdr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>
          <a:solidFill>
            <a:srgbClr val="C21B17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3800"/>
        </a:lnSpc>
        <a:spcBef>
          <a:spcPct val="0"/>
        </a:spcBef>
        <a:spcAft>
          <a:spcPct val="0"/>
        </a:spcAft>
        <a:defRPr sz="3600" b="1">
          <a:solidFill>
            <a:srgbClr val="C21B17"/>
          </a:solidFill>
          <a:latin typeface="+mn-lt"/>
          <a:ea typeface="+mn-ea"/>
          <a:cs typeface="+mn-cs"/>
        </a:defRPr>
      </a:lvl1pPr>
      <a:lvl2pPr marL="179388" algn="l" defTabSz="457200" rtl="0" fontAlgn="base">
        <a:lnSpc>
          <a:spcPts val="26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358775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Lucida Grande"/>
        <a:buChar char="-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538163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4pPr>
      <a:lvl5pPr marL="717550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5pPr>
      <a:lvl6pPr marL="1174750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1631950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2089150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546350" algn="l" defTabSz="457200" rtl="0" fontAlgn="base">
        <a:lnSpc>
          <a:spcPts val="1200"/>
        </a:lnSpc>
        <a:spcBef>
          <a:spcPct val="0"/>
        </a:spcBef>
        <a:spcAft>
          <a:spcPct val="0"/>
        </a:spcAft>
        <a:buFont typeface="Wingdings" pitchFamily="2" charset="2"/>
        <a:buChar char="Ø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578" name="object 3"/>
          <p:cNvSpPr txBox="1">
            <a:spLocks noChangeArrowheads="1"/>
          </p:cNvSpPr>
          <p:nvPr/>
        </p:nvSpPr>
        <p:spPr bwMode="auto">
          <a:xfrm>
            <a:off x="463552" y="6459538"/>
            <a:ext cx="2635249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el-GR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© </a:t>
            </a: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egal Name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4579" name="object 3"/>
          <p:cNvSpPr txBox="1">
            <a:spLocks noChangeArrowheads="1"/>
          </p:cNvSpPr>
          <p:nvPr/>
        </p:nvSpPr>
        <p:spPr bwMode="auto">
          <a:xfrm>
            <a:off x="3266017" y="6459538"/>
            <a:ext cx="1496483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70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ity</a:t>
            </a:r>
          </a:p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endParaRPr lang="el-GR" altLang="el-GR" sz="70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64580" name="Immagine 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3233" y="6216651"/>
            <a:ext cx="59266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1385551" y="273050"/>
            <a:ext cx="266700" cy="1793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fld id="{72A47A4E-A0CE-4D48-9DE8-9658BFBA34B1}" type="slidenum">
              <a:rPr lang="it-IT" altLang="el-GR"/>
              <a:pPr/>
              <a:t>‹#›</a:t>
            </a:fld>
            <a:endParaRPr lang="it-IT" altLang="el-GR"/>
          </a:p>
        </p:txBody>
      </p:sp>
      <p:pic>
        <p:nvPicPr>
          <p:cNvPr id="664583" name="Picture 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4584" name="object 3"/>
          <p:cNvSpPr txBox="1">
            <a:spLocks noChangeArrowheads="1"/>
          </p:cNvSpPr>
          <p:nvPr/>
        </p:nvSpPr>
        <p:spPr bwMode="auto">
          <a:xfrm>
            <a:off x="476252" y="715964"/>
            <a:ext cx="178223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buFontTx/>
              <a:buNone/>
            </a:pPr>
            <a:r>
              <a:rPr lang="it-IT" altLang="el-GR" sz="2000">
                <a:solidFill>
                  <a:srgbClr val="C21B17"/>
                </a:solidFill>
                <a:latin typeface="Arial" pitchFamily="34" charset="0"/>
                <a:cs typeface="Arial" pitchFamily="34" charset="0"/>
              </a:rPr>
              <a:t>Team</a:t>
            </a:r>
            <a:endParaRPr lang="el-GR" altLang="el-GR" sz="2000">
              <a:solidFill>
                <a:srgbClr val="C21B1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Segnaposto data 3"/>
          <p:cNvSpPr>
            <a:spLocks noGrp="1"/>
          </p:cNvSpPr>
          <p:nvPr>
            <p:ph type="dt" sz="half" idx="2"/>
          </p:nvPr>
        </p:nvSpPr>
        <p:spPr>
          <a:xfrm>
            <a:off x="4906434" y="6459538"/>
            <a:ext cx="1064684" cy="1143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7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l-GR"/>
              <a:t>01 Σεπτεμβρίου 2014 </a:t>
            </a:r>
            <a:endParaRPr lang="it-IT" dirty="0"/>
          </a:p>
        </p:txBody>
      </p:sp>
      <p:sp>
        <p:nvSpPr>
          <p:cNvPr id="1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6151033" y="6459538"/>
            <a:ext cx="3860800" cy="1143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FontTx/>
              <a:buNone/>
              <a:defRPr sz="700">
                <a:solidFill>
                  <a:srgbClr val="C21B17"/>
                </a:solidFill>
                <a:cs typeface="Arial Regular"/>
              </a:defRPr>
            </a:lvl1pPr>
          </a:lstStyle>
          <a:p>
            <a:endParaRPr lang="it-IT" altLang="el-GR"/>
          </a:p>
        </p:txBody>
      </p:sp>
      <p:sp>
        <p:nvSpPr>
          <p:cNvPr id="3" name="MSIPCMContentMarking" descr="{&quot;HashCode&quot;:-1822361208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7D6D9985-7706-4DA2-8D86-9B66433C88BB}"/>
              </a:ext>
            </a:extLst>
          </p:cNvPr>
          <p:cNvSpPr txBox="1"/>
          <p:nvPr userDrawn="1"/>
        </p:nvSpPr>
        <p:spPr>
          <a:xfrm>
            <a:off x="0" y="6595656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1000">
                <a:solidFill>
                  <a:srgbClr val="FF8C00"/>
                </a:solidFill>
                <a:latin typeface="Calibri" panose="020F0502020204030204" pitchFamily="34" charset="0"/>
              </a:rPr>
              <a:t>Confidential</a:t>
            </a:r>
            <a:endParaRPr lang="el-GR" sz="1000">
              <a:solidFill>
                <a:srgbClr val="FF8C00"/>
              </a:solidFill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917" r:id="rId12"/>
  </p:sldLayoutIdLst>
  <p:hf hdr="0"/>
  <p:txStyles>
    <p:titleStyle>
      <a:lvl1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2pPr>
      <a:lvl3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3pPr>
      <a:lvl4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4pPr>
      <a:lvl5pPr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5pPr>
      <a:lvl6pPr marL="4572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6pPr>
      <a:lvl7pPr marL="9144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7pPr>
      <a:lvl8pPr marL="13716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8pPr>
      <a:lvl9pPr marL="1828800" algn="l" defTabSz="457200" rtl="0" fontAlgn="base">
        <a:lnSpc>
          <a:spcPts val="3200"/>
        </a:lnSpc>
        <a:spcBef>
          <a:spcPct val="0"/>
        </a:spcBef>
        <a:spcAft>
          <a:spcPct val="0"/>
        </a:spcAft>
        <a:defRPr sz="3300" b="1">
          <a:solidFill>
            <a:schemeClr val="tx1"/>
          </a:solidFill>
          <a:latin typeface="Arial" pitchFamily="34" charset="0"/>
          <a:ea typeface="Arial Italic"/>
          <a:cs typeface="Arial" pitchFamily="34" charset="0"/>
        </a:defRPr>
      </a:lvl9pPr>
    </p:titleStyle>
    <p:bodyStyle>
      <a:lvl1pPr algn="l" defTabSz="457200" rtl="0" fontAlgn="base">
        <a:lnSpc>
          <a:spcPts val="1800"/>
        </a:lnSpc>
        <a:spcBef>
          <a:spcPct val="0"/>
        </a:spcBef>
        <a:spcAft>
          <a:spcPct val="0"/>
        </a:spcAft>
        <a:buClr>
          <a:srgbClr val="C21B17"/>
        </a:buClr>
        <a:buFont typeface="Arial" pitchFamily="34" charset="0"/>
        <a:buChar char="-"/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733425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²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9096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13668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18240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2812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2738438" indent="-179388" algn="l" defTabSz="457200" rtl="0" fontAlgn="base">
        <a:lnSpc>
          <a:spcPts val="1800"/>
        </a:lnSpc>
        <a:spcBef>
          <a:spcPct val="0"/>
        </a:spcBef>
        <a:spcAft>
          <a:spcPct val="0"/>
        </a:spcAft>
        <a:buSzPct val="60000"/>
        <a:buFont typeface="Wingdings" pitchFamily="2" charset="2"/>
        <a:buChar char="Ø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88.xml"/><Relationship Id="rId5" Type="http://schemas.openxmlformats.org/officeDocument/2006/relationships/image" Target="../media/image24.jpg"/><Relationship Id="rId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12.xml"/><Relationship Id="rId1" Type="http://schemas.openxmlformats.org/officeDocument/2006/relationships/tags" Target="../tags/tag3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5.jpg"/><Relationship Id="rId9" Type="http://schemas.openxmlformats.org/officeDocument/2006/relationships/image" Target="../media/image24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image" Target="../media/image37.jp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3.xml"/><Relationship Id="rId6" Type="http://schemas.openxmlformats.org/officeDocument/2006/relationships/image" Target="../media/image38.jpg"/><Relationship Id="rId5" Type="http://schemas.openxmlformats.org/officeDocument/2006/relationships/image" Target="../media/image2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image" Target="../media/image37.jp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3.xml"/><Relationship Id="rId6" Type="http://schemas.openxmlformats.org/officeDocument/2006/relationships/image" Target="../media/image39.png"/><Relationship Id="rId5" Type="http://schemas.openxmlformats.org/officeDocument/2006/relationships/image" Target="../media/image2.png"/><Relationship Id="rId4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212.xml"/><Relationship Id="rId1" Type="http://schemas.openxmlformats.org/officeDocument/2006/relationships/tags" Target="../tags/tag4.xml"/><Relationship Id="rId6" Type="http://schemas.openxmlformats.org/officeDocument/2006/relationships/image" Target="../media/image26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2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89.xml"/><Relationship Id="rId6" Type="http://schemas.openxmlformats.org/officeDocument/2006/relationships/image" Target="../media/image24.jpg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0.xml"/><Relationship Id="rId6" Type="http://schemas.openxmlformats.org/officeDocument/2006/relationships/image" Target="../media/image24.jp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91.xml"/><Relationship Id="rId6" Type="http://schemas.openxmlformats.org/officeDocument/2006/relationships/image" Target="../media/image24.jpg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91.xml"/><Relationship Id="rId6" Type="http://schemas.openxmlformats.org/officeDocument/2006/relationships/image" Target="../media/image24.jpg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7" Type="http://schemas.openxmlformats.org/officeDocument/2006/relationships/image" Target="../media/image2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1.xml"/><Relationship Id="rId6" Type="http://schemas.openxmlformats.org/officeDocument/2006/relationships/image" Target="../media/image23.png"/><Relationship Id="rId5" Type="http://schemas.openxmlformats.org/officeDocument/2006/relationships/image" Target="../media/image26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24.jp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89.xml"/><Relationship Id="rId6" Type="http://schemas.openxmlformats.org/officeDocument/2006/relationships/image" Target="../media/image23.png"/><Relationship Id="rId5" Type="http://schemas.openxmlformats.org/officeDocument/2006/relationships/image" Target="../media/image26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0.xml"/><Relationship Id="rId6" Type="http://schemas.openxmlformats.org/officeDocument/2006/relationships/image" Target="../media/image24.jpg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0.xml"/><Relationship Id="rId6" Type="http://schemas.openxmlformats.org/officeDocument/2006/relationships/image" Target="../media/image24.jpg"/><Relationship Id="rId5" Type="http://schemas.openxmlformats.org/officeDocument/2006/relationships/image" Target="../media/image23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ChangeArrowheads="1"/>
          </p:cNvSpPr>
          <p:nvPr/>
        </p:nvSpPr>
        <p:spPr bwMode="auto">
          <a:xfrm>
            <a:off x="1952205" y="3271208"/>
            <a:ext cx="62579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en-US" altLang="el-GR" sz="1800" dirty="0">
              <a:effectLst>
                <a:outerShdw blurRad="38100" dist="38100" dir="2700000" algn="tl">
                  <a:srgbClr val="C0C0C0"/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B0DA34-9C59-40AF-AFAA-EC9A0885B2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118" r="6857"/>
          <a:stretch/>
        </p:blipFill>
        <p:spPr>
          <a:xfrm>
            <a:off x="254524" y="-2"/>
            <a:ext cx="11937476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4F012A2-0B2C-4DC8-92F1-AB0CB97094C0}"/>
              </a:ext>
            </a:extLst>
          </p:cNvPr>
          <p:cNvSpPr/>
          <p:nvPr/>
        </p:nvSpPr>
        <p:spPr>
          <a:xfrm>
            <a:off x="8884849" y="1687076"/>
            <a:ext cx="305669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l-GR" sz="2800" dirty="0">
                <a:solidFill>
                  <a:srgbClr val="002060"/>
                </a:solidFill>
              </a:rPr>
              <a:t>Ομαδικό </a:t>
            </a:r>
            <a:endParaRPr lang="en-US" sz="2800" dirty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</a:pPr>
            <a:r>
              <a:rPr lang="el-GR" sz="2800" dirty="0">
                <a:solidFill>
                  <a:srgbClr val="002060"/>
                </a:solidFill>
              </a:rPr>
              <a:t>Πρόγραμμα </a:t>
            </a:r>
            <a:r>
              <a:rPr lang="en-US" sz="2800" dirty="0">
                <a:solidFill>
                  <a:srgbClr val="002060"/>
                </a:solidFill>
              </a:rPr>
              <a:t>Z</a:t>
            </a:r>
            <a:r>
              <a:rPr lang="el-GR" sz="2800" dirty="0" err="1">
                <a:solidFill>
                  <a:srgbClr val="002060"/>
                </a:solidFill>
              </a:rPr>
              <a:t>ωής</a:t>
            </a:r>
            <a:r>
              <a:rPr lang="el-GR" sz="2800" dirty="0">
                <a:solidFill>
                  <a:srgbClr val="002060"/>
                </a:solidFill>
              </a:rPr>
              <a:t> και Υγείας</a:t>
            </a:r>
            <a:br>
              <a:rPr lang="el-GR" sz="2800" dirty="0">
                <a:solidFill>
                  <a:srgbClr val="002060"/>
                </a:solidFill>
              </a:rPr>
            </a:br>
            <a:r>
              <a:rPr lang="el-GR" sz="2800" dirty="0">
                <a:solidFill>
                  <a:srgbClr val="002060"/>
                </a:solidFill>
              </a:rPr>
              <a:t>για το «ΤΑΜΕΙΟ ΜΗΧΑΝΙΚΩΝ ΕΡΓΟΛΗΠΤΩΝ ΔΗΜΟΣΙΩΝ ΕΡΓΩΝ (ΤΜΕΔΕ-ΝΠΙΔ)»</a:t>
            </a:r>
            <a:endParaRPr lang="en-US" sz="2800" dirty="0">
              <a:solidFill>
                <a:srgbClr val="002060"/>
              </a:solidFill>
            </a:endParaRPr>
          </a:p>
        </p:txBody>
      </p:sp>
      <p:pic>
        <p:nvPicPr>
          <p:cNvPr id="11" name="Immagine 9">
            <a:extLst>
              <a:ext uri="{FF2B5EF4-FFF2-40B4-BE49-F238E27FC236}">
                <a16:creationId xmlns:a16="http://schemas.microsoft.com/office/drawing/2014/main" id="{F41A5E20-31DE-47FE-B146-08A02A7F93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1089" y="5953337"/>
            <a:ext cx="902227" cy="728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BC53F2D-B9DF-4163-BB74-1B0D7C258A32}"/>
              </a:ext>
            </a:extLst>
          </p:cNvPr>
          <p:cNvCxnSpPr/>
          <p:nvPr/>
        </p:nvCxnSpPr>
        <p:spPr>
          <a:xfrm>
            <a:off x="8319805" y="1608345"/>
            <a:ext cx="0" cy="3535705"/>
          </a:xfrm>
          <a:prstGeom prst="line">
            <a:avLst/>
          </a:prstGeom>
          <a:ln w="222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AutoShape 2" descr="KPMG | Brands of the World™ | Download vector logos and logotypes">
            <a:extLst>
              <a:ext uri="{FF2B5EF4-FFF2-40B4-BE49-F238E27FC236}">
                <a16:creationId xmlns:a16="http://schemas.microsoft.com/office/drawing/2014/main" id="{C09C62D3-4E6D-432B-9252-3AE4C5E95C1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67313" y="2500313"/>
            <a:ext cx="1857375" cy="185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pic>
        <p:nvPicPr>
          <p:cNvPr id="4" name="Εικόνα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805" y="6038436"/>
            <a:ext cx="2370152" cy="558028"/>
          </a:xfrm>
          <a:prstGeom prst="rect">
            <a:avLst/>
          </a:prstGeom>
        </p:spPr>
      </p:pic>
      <p:pic>
        <p:nvPicPr>
          <p:cNvPr id="5" name="Εικόνα 4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7C5B28F7-C8FA-0512-EA94-560E4DBA4A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5964" y="5953337"/>
            <a:ext cx="1292709" cy="728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1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Εικόνα 5">
            <a:extLst>
              <a:ext uri="{FF2B5EF4-FFF2-40B4-BE49-F238E27FC236}">
                <a16:creationId xmlns:a16="http://schemas.microsoft.com/office/drawing/2014/main" id="{47BCC0BF-6739-DB79-6220-D4179599B67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5000"/>
          <a:stretch/>
        </p:blipFill>
        <p:spPr>
          <a:xfrm>
            <a:off x="0" y="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8283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1"/>
            <a:ext cx="9144000" cy="9525"/>
          </a:xfrm>
          <a:custGeom>
            <a:avLst/>
            <a:gdLst/>
            <a:ahLst/>
            <a:cxnLst/>
            <a:rect l="l" t="t" r="r" b="b"/>
            <a:pathLst>
              <a:path w="9144000" h="9525">
                <a:moveTo>
                  <a:pt x="0" y="9144"/>
                </a:moveTo>
                <a:lnTo>
                  <a:pt x="9144000" y="9144"/>
                </a:lnTo>
                <a:lnTo>
                  <a:pt x="9144000" y="0"/>
                </a:lnTo>
                <a:lnTo>
                  <a:pt x="0" y="0"/>
                </a:lnTo>
                <a:lnTo>
                  <a:pt x="0" y="9144"/>
                </a:lnTo>
                <a:close/>
              </a:path>
            </a:pathLst>
          </a:custGeom>
          <a:solidFill>
            <a:srgbClr val="E2E6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542035"/>
            <a:ext cx="12192000" cy="6306820"/>
          </a:xfrm>
          <a:custGeom>
            <a:avLst/>
            <a:gdLst/>
            <a:ahLst/>
            <a:cxnLst/>
            <a:rect l="l" t="t" r="r" b="b"/>
            <a:pathLst>
              <a:path w="9144000" h="6306820">
                <a:moveTo>
                  <a:pt x="0" y="6306311"/>
                </a:moveTo>
                <a:lnTo>
                  <a:pt x="9144000" y="6306311"/>
                </a:lnTo>
                <a:lnTo>
                  <a:pt x="9144000" y="0"/>
                </a:lnTo>
                <a:lnTo>
                  <a:pt x="0" y="0"/>
                </a:lnTo>
                <a:lnTo>
                  <a:pt x="0" y="6306311"/>
                </a:lnTo>
                <a:close/>
              </a:path>
            </a:pathLst>
          </a:custGeom>
          <a:solidFill>
            <a:srgbClr val="E2E6F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2580133"/>
            <a:ext cx="6263512" cy="4268722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-1" y="9145"/>
            <a:ext cx="12191999" cy="542925"/>
          </a:xfrm>
          <a:custGeom>
            <a:avLst/>
            <a:gdLst/>
            <a:ahLst/>
            <a:cxnLst/>
            <a:rect l="l" t="t" r="r" b="b"/>
            <a:pathLst>
              <a:path w="9144000" h="542925">
                <a:moveTo>
                  <a:pt x="0" y="542543"/>
                </a:moveTo>
                <a:lnTo>
                  <a:pt x="9144000" y="542543"/>
                </a:lnTo>
                <a:lnTo>
                  <a:pt x="9144000" y="0"/>
                </a:lnTo>
                <a:lnTo>
                  <a:pt x="0" y="0"/>
                </a:lnTo>
                <a:lnTo>
                  <a:pt x="0" y="542543"/>
                </a:lnTo>
                <a:close/>
              </a:path>
            </a:pathLst>
          </a:custGeom>
          <a:solidFill>
            <a:srgbClr val="5D83E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6624556" y="79789"/>
            <a:ext cx="3808095" cy="382156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10" dirty="0">
                <a:solidFill>
                  <a:srgbClr val="FFFFFF"/>
                </a:solidFill>
              </a:rPr>
              <a:t>Επείγοντα</a:t>
            </a:r>
            <a:r>
              <a:rPr sz="2400" spc="-40" dirty="0">
                <a:solidFill>
                  <a:srgbClr val="FFFFFF"/>
                </a:solidFill>
              </a:rPr>
              <a:t> </a:t>
            </a:r>
            <a:r>
              <a:rPr sz="2400" spc="-10" dirty="0">
                <a:solidFill>
                  <a:srgbClr val="FFFFFF"/>
                </a:solidFill>
              </a:rPr>
              <a:t>Περιστατικά</a:t>
            </a:r>
            <a:r>
              <a:rPr sz="2400" spc="-30" dirty="0">
                <a:solidFill>
                  <a:srgbClr val="FFFFFF"/>
                </a:solidFill>
              </a:rPr>
              <a:t> </a:t>
            </a:r>
            <a:r>
              <a:rPr sz="2400" spc="-5" dirty="0">
                <a:solidFill>
                  <a:srgbClr val="FFFFFF"/>
                </a:solidFill>
              </a:rPr>
              <a:t>(24/7)</a:t>
            </a:r>
          </a:p>
        </p:txBody>
      </p:sp>
      <p:sp>
        <p:nvSpPr>
          <p:cNvPr id="7" name="object 7"/>
          <p:cNvSpPr/>
          <p:nvPr/>
        </p:nvSpPr>
        <p:spPr>
          <a:xfrm>
            <a:off x="10258479" y="5100136"/>
            <a:ext cx="1584960" cy="1731645"/>
          </a:xfrm>
          <a:custGeom>
            <a:avLst/>
            <a:gdLst/>
            <a:ahLst/>
            <a:cxnLst/>
            <a:rect l="l" t="t" r="r" b="b"/>
            <a:pathLst>
              <a:path w="1584959" h="1731645">
                <a:moveTo>
                  <a:pt x="0" y="1731264"/>
                </a:moveTo>
                <a:lnTo>
                  <a:pt x="1584959" y="1731264"/>
                </a:lnTo>
                <a:lnTo>
                  <a:pt x="1584959" y="0"/>
                </a:lnTo>
                <a:lnTo>
                  <a:pt x="0" y="0"/>
                </a:lnTo>
                <a:lnTo>
                  <a:pt x="0" y="1731264"/>
                </a:lnTo>
                <a:close/>
              </a:path>
            </a:pathLst>
          </a:custGeom>
          <a:ln w="9144">
            <a:solidFill>
              <a:srgbClr val="5D83E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10370239" y="5141093"/>
            <a:ext cx="1361440" cy="16497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209" marR="21590" algn="ctr">
              <a:lnSpc>
                <a:spcPct val="100000"/>
              </a:lnSpc>
              <a:spcBef>
                <a:spcPts val="105"/>
              </a:spcBef>
            </a:pP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Ένα 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από τα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μεγαλύτερα </a:t>
            </a:r>
            <a:r>
              <a:rPr sz="1050" spc="-22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τμήματα</a:t>
            </a:r>
            <a:r>
              <a:rPr sz="1050" spc="-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Επειγόντων</a:t>
            </a:r>
            <a:endParaRPr sz="105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στην</a:t>
            </a:r>
            <a:r>
              <a:rPr sz="1050" spc="-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Ε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λλά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δα</a:t>
            </a:r>
            <a:endParaRPr sz="1050" dirty="0">
              <a:latin typeface="Calibri"/>
              <a:cs typeface="Calibri"/>
            </a:endParaRPr>
          </a:p>
          <a:p>
            <a:pPr marL="208915" marR="200025" algn="ctr">
              <a:lnSpc>
                <a:spcPct val="100000"/>
              </a:lnSpc>
              <a:spcBef>
                <a:spcPts val="480"/>
              </a:spcBef>
            </a:pP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Γιατροί</a:t>
            </a:r>
            <a:r>
              <a:rPr sz="1050" spc="-4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όλων</a:t>
            </a:r>
            <a:r>
              <a:rPr sz="1050" spc="-4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των </a:t>
            </a:r>
            <a:r>
              <a:rPr sz="1050" spc="-22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ειδικοτήτων</a:t>
            </a:r>
            <a:endParaRPr sz="1050" dirty="0">
              <a:latin typeface="Calibri"/>
              <a:cs typeface="Calibri"/>
            </a:endParaRPr>
          </a:p>
          <a:p>
            <a:pPr marL="635" algn="ctr">
              <a:lnSpc>
                <a:spcPct val="100000"/>
              </a:lnSpc>
              <a:spcBef>
                <a:spcPts val="480"/>
              </a:spcBef>
            </a:pP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Εξειδικευμένο</a:t>
            </a:r>
            <a:endParaRPr sz="105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050" spc="-10" dirty="0">
                <a:solidFill>
                  <a:srgbClr val="17375E"/>
                </a:solidFill>
                <a:latin typeface="Calibri"/>
                <a:cs typeface="Calibri"/>
              </a:rPr>
              <a:t>ν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ο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σηλευ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τικ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ό</a:t>
            </a:r>
            <a:r>
              <a:rPr sz="1050" spc="-3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προσωπ</a:t>
            </a:r>
            <a:r>
              <a:rPr sz="1050" spc="-15" dirty="0">
                <a:solidFill>
                  <a:srgbClr val="17375E"/>
                </a:solidFill>
                <a:latin typeface="Calibri"/>
                <a:cs typeface="Calibri"/>
              </a:rPr>
              <a:t>ι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κό</a:t>
            </a:r>
            <a:endParaRPr sz="1050" dirty="0">
              <a:latin typeface="Calibri"/>
              <a:cs typeface="Calibri"/>
            </a:endParaRPr>
          </a:p>
          <a:p>
            <a:pPr marL="309245" marR="300990" algn="ctr">
              <a:lnSpc>
                <a:spcPct val="100000"/>
              </a:lnSpc>
              <a:spcBef>
                <a:spcPts val="480"/>
              </a:spcBef>
            </a:pP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8</a:t>
            </a:r>
            <a:r>
              <a:rPr sz="1050" spc="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α</a:t>
            </a:r>
            <a:r>
              <a:rPr sz="1050" spc="-10" dirty="0">
                <a:solidFill>
                  <a:srgbClr val="17375E"/>
                </a:solidFill>
                <a:latin typeface="Calibri"/>
                <a:cs typeface="Calibri"/>
              </a:rPr>
              <a:t>ν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εξάρτη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τ</a:t>
            </a:r>
            <a:r>
              <a:rPr sz="1050" dirty="0">
                <a:solidFill>
                  <a:srgbClr val="17375E"/>
                </a:solidFill>
                <a:latin typeface="Calibri"/>
                <a:cs typeface="Calibri"/>
              </a:rPr>
              <a:t>α  </a:t>
            </a:r>
            <a:r>
              <a:rPr sz="1050" spc="-5" dirty="0">
                <a:solidFill>
                  <a:srgbClr val="17375E"/>
                </a:solidFill>
                <a:latin typeface="Calibri"/>
                <a:cs typeface="Calibri"/>
              </a:rPr>
              <a:t>εξεταστήρια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214366" y="2800071"/>
            <a:ext cx="3427729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(εντός</a:t>
            </a:r>
            <a:r>
              <a:rPr sz="1600" spc="-1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Αττικής)</a:t>
            </a:r>
            <a:r>
              <a:rPr sz="1600" spc="2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σε</a:t>
            </a:r>
            <a:r>
              <a:rPr sz="1600" spc="-1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περίπτωση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νοσηλείας.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297935" y="859536"/>
            <a:ext cx="1873250" cy="255198"/>
          </a:xfrm>
          <a:prstGeom prst="rect">
            <a:avLst/>
          </a:prstGeom>
          <a:solidFill>
            <a:srgbClr val="5D83EE"/>
          </a:solidFill>
        </p:spPr>
        <p:txBody>
          <a:bodyPr vert="horz" wrap="square" lIns="0" tIns="8890" rIns="0" bIns="0" rtlCol="0">
            <a:spAutoFit/>
          </a:bodyPr>
          <a:lstStyle/>
          <a:p>
            <a:pPr marL="122555">
              <a:lnSpc>
                <a:spcPct val="100000"/>
              </a:lnSpc>
              <a:spcBef>
                <a:spcPts val="70"/>
              </a:spcBef>
            </a:pP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Δωρεάν</a:t>
            </a:r>
            <a:r>
              <a:rPr sz="16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επισκέψεις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279904" y="1557527"/>
            <a:ext cx="2880360" cy="255198"/>
          </a:xfrm>
          <a:prstGeom prst="rect">
            <a:avLst/>
          </a:prstGeom>
          <a:solidFill>
            <a:srgbClr val="5D83EE"/>
          </a:solidFill>
        </p:spPr>
        <p:txBody>
          <a:bodyPr vert="horz" wrap="square" lIns="0" tIns="8890" rIns="0" bIns="0" rtlCol="0">
            <a:spAutoFit/>
          </a:bodyPr>
          <a:lstStyle/>
          <a:p>
            <a:pPr marL="115570">
              <a:lnSpc>
                <a:spcPct val="100000"/>
              </a:lnSpc>
              <a:spcBef>
                <a:spcPts val="70"/>
              </a:spcBef>
            </a:pP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Δωρεάν</a:t>
            </a:r>
            <a:r>
              <a:rPr sz="16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διαγνωστικές</a:t>
            </a:r>
            <a:r>
              <a:rPr sz="16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εξετάσεις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920241" y="2802636"/>
            <a:ext cx="3240405" cy="255839"/>
          </a:xfrm>
          <a:prstGeom prst="rect">
            <a:avLst/>
          </a:prstGeom>
          <a:solidFill>
            <a:srgbClr val="5D83EE"/>
          </a:solidFill>
        </p:spPr>
        <p:txBody>
          <a:bodyPr vert="horz" wrap="square" lIns="0" tIns="9525" rIns="0" bIns="0" rtlCol="0">
            <a:spAutoFit/>
          </a:bodyPr>
          <a:lstStyle/>
          <a:p>
            <a:pPr marL="106680">
              <a:lnSpc>
                <a:spcPct val="100000"/>
              </a:lnSpc>
              <a:spcBef>
                <a:spcPts val="75"/>
              </a:spcBef>
            </a:pP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Δωρεάν</a:t>
            </a:r>
            <a:r>
              <a:rPr sz="16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Calibri"/>
                <a:cs typeface="Calibri"/>
              </a:rPr>
              <a:t>μετακίνηση</a:t>
            </a:r>
            <a:r>
              <a:rPr sz="16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με</a:t>
            </a:r>
            <a:r>
              <a:rPr sz="16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Calibri"/>
                <a:cs typeface="Calibri"/>
              </a:rPr>
              <a:t>ασθενοφόρο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214366" y="832890"/>
            <a:ext cx="489013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σε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5" dirty="0">
                <a:solidFill>
                  <a:srgbClr val="17375E"/>
                </a:solidFill>
                <a:latin typeface="Calibri"/>
                <a:cs typeface="Calibri"/>
              </a:rPr>
              <a:t>Παθολόγο,</a:t>
            </a:r>
            <a:r>
              <a:rPr sz="1600" spc="4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Καρδιολόγο,</a:t>
            </a:r>
            <a:r>
              <a:rPr sz="1600" spc="3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5" dirty="0">
                <a:solidFill>
                  <a:srgbClr val="17375E"/>
                </a:solidFill>
                <a:latin typeface="Calibri"/>
                <a:cs typeface="Calibri"/>
              </a:rPr>
              <a:t>Ορθοπεδικό,</a:t>
            </a:r>
            <a:r>
              <a:rPr sz="1600" spc="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5" dirty="0">
                <a:solidFill>
                  <a:srgbClr val="17375E"/>
                </a:solidFill>
                <a:latin typeface="Calibri"/>
                <a:cs typeface="Calibri"/>
              </a:rPr>
              <a:t>Γενικό</a:t>
            </a: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Χειρουργό, </a:t>
            </a:r>
            <a:r>
              <a:rPr sz="1600" spc="-35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Πνευμονολόγο,</a:t>
            </a: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Νευρολόγο,</a:t>
            </a:r>
            <a:r>
              <a:rPr sz="1600" spc="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Νευροχειρουργό</a:t>
            </a: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25" dirty="0">
                <a:solidFill>
                  <a:srgbClr val="17375E"/>
                </a:solidFill>
                <a:latin typeface="Calibri"/>
                <a:cs typeface="Calibri"/>
              </a:rPr>
              <a:t>και</a:t>
            </a:r>
            <a:r>
              <a:rPr sz="1600" spc="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0" dirty="0">
                <a:solidFill>
                  <a:srgbClr val="17375E"/>
                </a:solidFill>
                <a:latin typeface="Calibri"/>
                <a:cs typeface="Calibri"/>
              </a:rPr>
              <a:t>ΩΡΛ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214366" y="1524524"/>
            <a:ext cx="4784725" cy="6985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έως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το</a:t>
            </a: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ποσό</a:t>
            </a:r>
            <a:r>
              <a:rPr sz="1600" spc="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των</a:t>
            </a:r>
            <a:r>
              <a:rPr sz="1600" spc="1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7375E"/>
                </a:solidFill>
                <a:latin typeface="Calibri"/>
                <a:cs typeface="Calibri"/>
              </a:rPr>
              <a:t>€500</a:t>
            </a:r>
            <a:r>
              <a:rPr sz="1600" b="1" spc="2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ανά</a:t>
            </a:r>
            <a:r>
              <a:rPr sz="1600" spc="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περιστατικό</a:t>
            </a:r>
            <a:r>
              <a:rPr sz="1600" spc="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25" dirty="0">
                <a:solidFill>
                  <a:srgbClr val="17375E"/>
                </a:solidFill>
                <a:latin typeface="Calibri"/>
                <a:cs typeface="Calibri"/>
              </a:rPr>
              <a:t>και</a:t>
            </a:r>
            <a:r>
              <a:rPr sz="1600" spc="2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7375E"/>
                </a:solidFill>
                <a:latin typeface="Calibri"/>
                <a:cs typeface="Calibri"/>
              </a:rPr>
              <a:t>έκπτωση</a:t>
            </a:r>
            <a:r>
              <a:rPr sz="1600" b="1" spc="2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7375E"/>
                </a:solidFill>
                <a:latin typeface="Calibri"/>
                <a:cs typeface="Calibri"/>
              </a:rPr>
              <a:t>50%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για</a:t>
            </a:r>
            <a:r>
              <a:rPr sz="160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εξετάσεις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πέραν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του</a:t>
            </a:r>
            <a:r>
              <a:rPr sz="1600" spc="-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ποσού</a:t>
            </a:r>
            <a:r>
              <a:rPr sz="1600" spc="5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17375E"/>
                </a:solidFill>
                <a:latin typeface="Calibri"/>
                <a:cs typeface="Calibri"/>
              </a:rPr>
              <a:t>των</a:t>
            </a:r>
            <a:r>
              <a:rPr sz="1600" spc="30" dirty="0">
                <a:solidFill>
                  <a:srgbClr val="17375E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7375E"/>
                </a:solidFill>
                <a:latin typeface="Calibri"/>
                <a:cs typeface="Calibri"/>
              </a:rPr>
              <a:t>€500.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5"/>
              </a:spcBef>
            </a:pP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*Εξαιρούνται</a:t>
            </a:r>
            <a:r>
              <a:rPr sz="1200" i="1" spc="-5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10" dirty="0">
                <a:solidFill>
                  <a:srgbClr val="205868"/>
                </a:solidFill>
                <a:latin typeface="Calibri"/>
                <a:cs typeface="Calibri"/>
              </a:rPr>
              <a:t>φάρμακα</a:t>
            </a:r>
            <a:r>
              <a:rPr sz="1200" i="1" spc="-2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&amp;</a:t>
            </a:r>
            <a:r>
              <a:rPr sz="1200" i="1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20" dirty="0">
                <a:solidFill>
                  <a:srgbClr val="205868"/>
                </a:solidFill>
                <a:latin typeface="Calibri"/>
                <a:cs typeface="Calibri"/>
              </a:rPr>
              <a:t>υλικά.</a:t>
            </a:r>
            <a:endParaRPr sz="12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2575562"/>
            <a:ext cx="6406768" cy="4268721"/>
          </a:xfrm>
          <a:prstGeom prst="rect">
            <a:avLst/>
          </a:prstGeom>
        </p:spPr>
      </p:pic>
      <p:sp>
        <p:nvSpPr>
          <p:cNvPr id="3" name="object 3"/>
          <p:cNvSpPr/>
          <p:nvPr/>
        </p:nvSpPr>
        <p:spPr>
          <a:xfrm>
            <a:off x="0" y="13717"/>
            <a:ext cx="12192000" cy="542925"/>
          </a:xfrm>
          <a:custGeom>
            <a:avLst/>
            <a:gdLst/>
            <a:ahLst/>
            <a:cxnLst/>
            <a:rect l="l" t="t" r="r" b="b"/>
            <a:pathLst>
              <a:path w="9144000" h="542925">
                <a:moveTo>
                  <a:pt x="0" y="0"/>
                </a:moveTo>
                <a:lnTo>
                  <a:pt x="0" y="542543"/>
                </a:lnTo>
                <a:lnTo>
                  <a:pt x="9143999" y="542543"/>
                </a:lnTo>
                <a:lnTo>
                  <a:pt x="9143999" y="0"/>
                </a:lnTo>
                <a:lnTo>
                  <a:pt x="0" y="0"/>
                </a:lnTo>
                <a:close/>
              </a:path>
            </a:pathLst>
          </a:custGeom>
          <a:solidFill>
            <a:srgbClr val="C89DB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8721534" y="83191"/>
            <a:ext cx="2238303" cy="382156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spc="-5" dirty="0" err="1">
                <a:solidFill>
                  <a:srgbClr val="403052"/>
                </a:solidFill>
                <a:latin typeface="Calibri"/>
                <a:cs typeface="Calibri"/>
              </a:rPr>
              <a:t>Νοσηλεί</a:t>
            </a:r>
            <a:r>
              <a:rPr sz="2400" b="1" spc="-5" dirty="0">
                <a:solidFill>
                  <a:srgbClr val="403052"/>
                </a:solidFill>
                <a:latin typeface="Calibri"/>
                <a:cs typeface="Calibri"/>
              </a:rPr>
              <a:t>α*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9840686" y="5950059"/>
            <a:ext cx="2351314" cy="846386"/>
          </a:xfrm>
          <a:prstGeom prst="rect">
            <a:avLst/>
          </a:prstGeom>
          <a:ln w="9144">
            <a:solidFill>
              <a:srgbClr val="403052"/>
            </a:solidFill>
          </a:ln>
        </p:spPr>
        <p:txBody>
          <a:bodyPr vert="horz" wrap="square" lIns="0" tIns="38100" rIns="0" bIns="0" rtlCol="0">
            <a:spAutoFit/>
          </a:bodyPr>
          <a:lstStyle/>
          <a:p>
            <a:pPr marL="168910" marR="158750" indent="-635" algn="ctr">
              <a:lnSpc>
                <a:spcPct val="100000"/>
              </a:lnSpc>
              <a:spcBef>
                <a:spcPts val="300"/>
              </a:spcBef>
            </a:pP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Το Ερρίκος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Ντυνάν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Hospital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Center,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με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άδεια για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462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κλίνες, </a:t>
            </a:r>
            <a:r>
              <a:rPr sz="1050" spc="-22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είναι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η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μεγαλύτερη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ιδιωτική</a:t>
            </a:r>
            <a:r>
              <a:rPr sz="1050" spc="-4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κλινική</a:t>
            </a:r>
            <a:r>
              <a:rPr sz="1050" spc="-4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στην</a:t>
            </a:r>
            <a:endParaRPr sz="1050" dirty="0">
              <a:latin typeface="Calibri"/>
              <a:cs typeface="Calibri"/>
            </a:endParaRPr>
          </a:p>
          <a:p>
            <a:pPr marL="121285" marR="112395" algn="ctr">
              <a:lnSpc>
                <a:spcPct val="100000"/>
              </a:lnSpc>
            </a:pP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Ελλάδα</a:t>
            </a:r>
            <a:r>
              <a:rPr sz="1050" spc="-2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και</a:t>
            </a:r>
            <a:r>
              <a:rPr sz="1050" spc="-2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μία</a:t>
            </a:r>
            <a:r>
              <a:rPr sz="1050" spc="-20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από</a:t>
            </a:r>
            <a:r>
              <a:rPr sz="1050" spc="-40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τις </a:t>
            </a:r>
            <a:r>
              <a:rPr sz="1050" spc="-22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spc="-10" dirty="0">
                <a:solidFill>
                  <a:srgbClr val="0F243E"/>
                </a:solidFill>
                <a:latin typeface="Calibri"/>
                <a:cs typeface="Calibri"/>
              </a:rPr>
              <a:t>μ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ε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γα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λύ</a:t>
            </a:r>
            <a:r>
              <a:rPr sz="1050" spc="-5" dirty="0">
                <a:solidFill>
                  <a:srgbClr val="0F243E"/>
                </a:solidFill>
                <a:latin typeface="Calibri"/>
                <a:cs typeface="Calibri"/>
              </a:rPr>
              <a:t>τερε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ς</a:t>
            </a:r>
            <a:r>
              <a:rPr sz="1050" spc="-50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στην</a:t>
            </a:r>
            <a:r>
              <a:rPr sz="1050" spc="5" dirty="0">
                <a:solidFill>
                  <a:srgbClr val="0F243E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0F243E"/>
                </a:solidFill>
                <a:latin typeface="Calibri"/>
                <a:cs typeface="Calibri"/>
              </a:rPr>
              <a:t>ΝΑ  Ευρώπη.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362828" y="655700"/>
            <a:ext cx="3985895" cy="1000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403052"/>
                </a:solidFill>
                <a:latin typeface="Calibri"/>
                <a:cs typeface="Calibri"/>
              </a:rPr>
              <a:t>απορρόφηση</a:t>
            </a:r>
            <a:r>
              <a:rPr sz="1600" b="1" spc="2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403052"/>
                </a:solidFill>
                <a:latin typeface="Calibri"/>
                <a:cs typeface="Calibri"/>
              </a:rPr>
              <a:t>έως</a:t>
            </a:r>
            <a:r>
              <a:rPr sz="1600" b="1" spc="1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03052"/>
                </a:solidFill>
                <a:latin typeface="Calibri"/>
                <a:cs typeface="Calibri"/>
              </a:rPr>
              <a:t>20%</a:t>
            </a:r>
            <a:r>
              <a:rPr sz="1600" b="1" spc="2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03052"/>
                </a:solidFill>
                <a:latin typeface="Calibri"/>
                <a:cs typeface="Calibri"/>
              </a:rPr>
              <a:t>στην</a:t>
            </a:r>
            <a:r>
              <a:rPr sz="1600" b="1" spc="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03052"/>
                </a:solidFill>
                <a:latin typeface="Calibri"/>
                <a:cs typeface="Calibri"/>
              </a:rPr>
              <a:t>συμμετοχή</a:t>
            </a:r>
            <a:r>
              <a:rPr sz="1600" b="1" spc="1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03052"/>
                </a:solidFill>
                <a:latin typeface="Calibri"/>
                <a:cs typeface="Calibri"/>
              </a:rPr>
              <a:t>του </a:t>
            </a:r>
            <a:r>
              <a:rPr sz="1600" b="1" spc="-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03052"/>
                </a:solidFill>
                <a:latin typeface="Calibri"/>
                <a:cs typeface="Calibri"/>
              </a:rPr>
              <a:t>ασφαλισμένου</a:t>
            </a:r>
            <a:r>
              <a:rPr sz="1600" b="1" spc="4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επί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 του</a:t>
            </a:r>
            <a:r>
              <a:rPr sz="1600" spc="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συνόλου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των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δαπανών 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 νοσηλείας</a:t>
            </a:r>
            <a:r>
              <a:rPr sz="1600" spc="1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(τιμολόγιο</a:t>
            </a:r>
            <a:r>
              <a:rPr sz="1600" spc="1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Κλινικής</a:t>
            </a:r>
            <a:r>
              <a:rPr sz="1600" spc="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μετά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20" dirty="0">
                <a:solidFill>
                  <a:srgbClr val="403052"/>
                </a:solidFill>
                <a:latin typeface="Calibri"/>
                <a:cs typeface="Calibri"/>
              </a:rPr>
              <a:t>την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20" dirty="0">
                <a:solidFill>
                  <a:srgbClr val="403052"/>
                </a:solidFill>
                <a:latin typeface="Calibri"/>
                <a:cs typeface="Calibri"/>
              </a:rPr>
              <a:t>κάλυψη </a:t>
            </a:r>
            <a:r>
              <a:rPr sz="1600" spc="-35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του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δημόσιου</a:t>
            </a:r>
            <a:r>
              <a:rPr sz="1600" spc="1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ασφαλιστικού</a:t>
            </a:r>
            <a:r>
              <a:rPr sz="1600" spc="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φορέα).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106169" y="693419"/>
            <a:ext cx="4177665" cy="255198"/>
          </a:xfrm>
          <a:prstGeom prst="rect">
            <a:avLst/>
          </a:prstGeom>
          <a:solidFill>
            <a:srgbClr val="C89DB8"/>
          </a:solidFill>
        </p:spPr>
        <p:txBody>
          <a:bodyPr vert="horz" wrap="square" lIns="0" tIns="889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70"/>
              </a:spcBef>
            </a:pP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Χρήση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δημοσίου</a:t>
            </a:r>
            <a:r>
              <a:rPr sz="1600" spc="1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ασφαλιστικού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φορέα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body" idx="1"/>
          </p:nvPr>
        </p:nvSpPr>
        <p:spPr>
          <a:xfrm>
            <a:off x="2133600" y="1747518"/>
            <a:ext cx="9579429" cy="133562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188460" marR="231140" indent="0">
              <a:spcBef>
                <a:spcPts val="95"/>
              </a:spcBef>
              <a:buNone/>
            </a:pPr>
            <a:endParaRPr lang="en-US" sz="1600" b="1" spc="-5" dirty="0">
              <a:latin typeface="Calibri"/>
              <a:cs typeface="Calibri"/>
            </a:endParaRPr>
          </a:p>
          <a:p>
            <a:pPr marL="4188460" marR="231140" indent="0">
              <a:spcBef>
                <a:spcPts val="95"/>
              </a:spcBef>
              <a:buNone/>
            </a:pPr>
            <a:r>
              <a:rPr sz="1600" b="1" spc="-5" dirty="0">
                <a:latin typeface="Calibri"/>
                <a:cs typeface="Calibri"/>
              </a:rPr>
              <a:t>απ</a:t>
            </a:r>
            <a:r>
              <a:rPr sz="1600" b="1" spc="-5" dirty="0" err="1">
                <a:latin typeface="Calibri"/>
                <a:cs typeface="Calibri"/>
              </a:rPr>
              <a:t>ορρόφηση</a:t>
            </a:r>
            <a:r>
              <a:rPr sz="1600" b="1" spc="2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έως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20%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στην</a:t>
            </a:r>
            <a:r>
              <a:rPr sz="1600" b="1" spc="10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συμμετοχή</a:t>
            </a:r>
            <a:r>
              <a:rPr sz="1600" b="1" spc="20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του </a:t>
            </a:r>
            <a:r>
              <a:rPr sz="1600" b="1" spc="-5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ασφαλισμένου</a:t>
            </a:r>
            <a:r>
              <a:rPr sz="1600" b="1" spc="35" dirty="0">
                <a:latin typeface="Calibri"/>
                <a:cs typeface="Calibri"/>
              </a:rPr>
              <a:t> </a:t>
            </a:r>
            <a:r>
              <a:rPr sz="1600" spc="-5" dirty="0"/>
              <a:t>με</a:t>
            </a:r>
            <a:r>
              <a:rPr sz="1600" spc="-10" dirty="0"/>
              <a:t> ανώτατο</a:t>
            </a:r>
            <a:r>
              <a:rPr sz="1600" spc="25" dirty="0"/>
              <a:t> </a:t>
            </a:r>
            <a:r>
              <a:rPr sz="1600" spc="-5" dirty="0"/>
              <a:t>όριο</a:t>
            </a:r>
            <a:r>
              <a:rPr sz="1600" spc="5" dirty="0"/>
              <a:t> </a:t>
            </a:r>
            <a:r>
              <a:rPr sz="1600" spc="-10" dirty="0"/>
              <a:t>τα</a:t>
            </a:r>
            <a:r>
              <a:rPr sz="1600" spc="15" dirty="0"/>
              <a:t> </a:t>
            </a:r>
            <a:r>
              <a:rPr sz="1600" spc="-10" dirty="0"/>
              <a:t>€600</a:t>
            </a:r>
            <a:r>
              <a:rPr sz="1600" spc="25" dirty="0"/>
              <a:t> </a:t>
            </a:r>
            <a:r>
              <a:rPr sz="1600" dirty="0"/>
              <a:t>επί </a:t>
            </a:r>
            <a:r>
              <a:rPr sz="1600" spc="-345" dirty="0"/>
              <a:t> </a:t>
            </a:r>
            <a:r>
              <a:rPr sz="1600" spc="-10" dirty="0"/>
              <a:t>του</a:t>
            </a:r>
            <a:r>
              <a:rPr sz="1600" dirty="0"/>
              <a:t> </a:t>
            </a:r>
            <a:r>
              <a:rPr sz="1600" spc="-10" dirty="0"/>
              <a:t>συνόλου</a:t>
            </a:r>
            <a:r>
              <a:rPr sz="1600" spc="-5" dirty="0"/>
              <a:t> </a:t>
            </a:r>
            <a:r>
              <a:rPr sz="1600" spc="-10" dirty="0"/>
              <a:t>των</a:t>
            </a:r>
            <a:r>
              <a:rPr sz="1600" spc="-5" dirty="0"/>
              <a:t> </a:t>
            </a:r>
            <a:r>
              <a:rPr sz="1600" spc="-10" dirty="0"/>
              <a:t>δαπανών</a:t>
            </a:r>
            <a:r>
              <a:rPr sz="1600" spc="5" dirty="0"/>
              <a:t> </a:t>
            </a:r>
            <a:r>
              <a:rPr sz="1600" spc="-5" dirty="0"/>
              <a:t>νοσηλείας </a:t>
            </a:r>
            <a:r>
              <a:rPr sz="1600" dirty="0"/>
              <a:t> </a:t>
            </a:r>
            <a:r>
              <a:rPr sz="1600" spc="-10" dirty="0"/>
              <a:t>(τιμολόγιο</a:t>
            </a:r>
            <a:r>
              <a:rPr sz="1600" spc="10" dirty="0"/>
              <a:t> </a:t>
            </a:r>
            <a:r>
              <a:rPr sz="1600" spc="-10" dirty="0"/>
              <a:t>Κλινικής).</a:t>
            </a:r>
          </a:p>
          <a:p>
            <a:pPr marL="4188460" marR="5080" indent="0">
              <a:spcBef>
                <a:spcPts val="1055"/>
              </a:spcBef>
              <a:buNone/>
            </a:pPr>
            <a:r>
              <a:rPr sz="1200" i="1" spc="-5" dirty="0">
                <a:latin typeface="Calibri"/>
                <a:cs typeface="Calibri"/>
              </a:rPr>
              <a:t>*εξαιρούνται οι χημειοθεραπείες </a:t>
            </a:r>
            <a:r>
              <a:rPr sz="1200" i="1" spc="-15" dirty="0">
                <a:latin typeface="Calibri"/>
                <a:cs typeface="Calibri"/>
              </a:rPr>
              <a:t>και </a:t>
            </a:r>
            <a:r>
              <a:rPr sz="1200" i="1" dirty="0">
                <a:latin typeface="Calibri"/>
                <a:cs typeface="Calibri"/>
              </a:rPr>
              <a:t>εγχύσεις </a:t>
            </a:r>
            <a:r>
              <a:rPr sz="1200" i="1" spc="-5" dirty="0">
                <a:latin typeface="Calibri"/>
                <a:cs typeface="Calibri"/>
              </a:rPr>
              <a:t>φαρμάκων </a:t>
            </a:r>
            <a:r>
              <a:rPr sz="1200" i="1" spc="-15" dirty="0">
                <a:latin typeface="Calibri"/>
                <a:cs typeface="Calibri"/>
              </a:rPr>
              <a:t>και </a:t>
            </a:r>
            <a:r>
              <a:rPr sz="1200" i="1" spc="-5" dirty="0">
                <a:latin typeface="Calibri"/>
                <a:cs typeface="Calibri"/>
              </a:rPr>
              <a:t>οι </a:t>
            </a:r>
            <a:r>
              <a:rPr sz="1200" i="1" spc="-260" dirty="0">
                <a:latin typeface="Calibri"/>
                <a:cs typeface="Calibri"/>
              </a:rPr>
              <a:t> </a:t>
            </a:r>
            <a:r>
              <a:rPr sz="1200" i="1" spc="-5" dirty="0">
                <a:latin typeface="Calibri"/>
                <a:cs typeface="Calibri"/>
              </a:rPr>
              <a:t>αμοιβές</a:t>
            </a:r>
            <a:r>
              <a:rPr sz="1200" i="1" spc="-15" dirty="0">
                <a:latin typeface="Calibri"/>
                <a:cs typeface="Calibri"/>
              </a:rPr>
              <a:t> </a:t>
            </a:r>
            <a:r>
              <a:rPr sz="1200" i="1" spc="-5" dirty="0">
                <a:latin typeface="Calibri"/>
                <a:cs typeface="Calibri"/>
              </a:rPr>
              <a:t>ιατρών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06169" y="2029968"/>
            <a:ext cx="4177665" cy="255839"/>
          </a:xfrm>
          <a:prstGeom prst="rect">
            <a:avLst/>
          </a:prstGeom>
          <a:solidFill>
            <a:srgbClr val="C89DB8"/>
          </a:solidFill>
        </p:spPr>
        <p:txBody>
          <a:bodyPr vert="horz" wrap="square" lIns="0" tIns="9525" rIns="0" bIns="0" rtlCol="0">
            <a:spAutoFit/>
          </a:bodyPr>
          <a:lstStyle/>
          <a:p>
            <a:pPr marL="110489">
              <a:lnSpc>
                <a:spcPct val="100000"/>
              </a:lnSpc>
              <a:spcBef>
                <a:spcPts val="75"/>
              </a:spcBef>
            </a:pP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Χωρίς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dirty="0">
                <a:solidFill>
                  <a:srgbClr val="403052"/>
                </a:solidFill>
                <a:latin typeface="Calibri"/>
                <a:cs typeface="Calibri"/>
              </a:rPr>
              <a:t>τη</a:t>
            </a:r>
            <a:r>
              <a:rPr sz="1600" spc="1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χρήση</a:t>
            </a:r>
            <a:r>
              <a:rPr sz="1600" spc="2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δημοσίου</a:t>
            </a:r>
            <a:r>
              <a:rPr sz="1600" spc="2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ασφαλιστικού</a:t>
            </a:r>
            <a:r>
              <a:rPr sz="1600" spc="1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φορέα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278124" y="3429000"/>
            <a:ext cx="3005455" cy="276358"/>
          </a:xfrm>
          <a:prstGeom prst="rect">
            <a:avLst/>
          </a:prstGeom>
          <a:solidFill>
            <a:srgbClr val="C89DB8"/>
          </a:solidFill>
        </p:spPr>
        <p:txBody>
          <a:bodyPr vert="horz" wrap="square" lIns="0" tIns="29845" rIns="0" bIns="0" rtlCol="0">
            <a:spAutoFit/>
          </a:bodyPr>
          <a:lstStyle/>
          <a:p>
            <a:pPr marL="259079">
              <a:lnSpc>
                <a:spcPct val="100000"/>
              </a:lnSpc>
              <a:spcBef>
                <a:spcPts val="235"/>
              </a:spcBef>
            </a:pP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Αναβάθμιση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θέσης</a:t>
            </a:r>
            <a:r>
              <a:rPr sz="1600" spc="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νοσηλείας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371933" y="3353133"/>
            <a:ext cx="3374390" cy="572135"/>
          </a:xfrm>
          <a:prstGeom prst="rect">
            <a:avLst/>
          </a:prstGeom>
        </p:spPr>
        <p:txBody>
          <a:bodyPr vert="horz" wrap="square" lIns="0" tIns="419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Επιλογή</a:t>
            </a:r>
            <a:r>
              <a:rPr sz="1600" spc="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403052"/>
                </a:solidFill>
                <a:latin typeface="Calibri"/>
                <a:cs typeface="Calibri"/>
              </a:rPr>
              <a:t>αναβάθμισης</a:t>
            </a:r>
            <a:r>
              <a:rPr sz="1600" b="1" spc="40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5" dirty="0">
                <a:solidFill>
                  <a:srgbClr val="403052"/>
                </a:solidFill>
                <a:latin typeface="Calibri"/>
                <a:cs typeface="Calibri"/>
              </a:rPr>
              <a:t>θέσης</a:t>
            </a:r>
            <a:r>
              <a:rPr sz="1600" b="1" spc="3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03052"/>
                </a:solidFill>
                <a:latin typeface="Calibri"/>
                <a:cs typeface="Calibri"/>
              </a:rPr>
              <a:t>νοσηλείας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29"/>
              </a:spcBef>
            </a:pP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εφόσον</a:t>
            </a:r>
            <a:r>
              <a:rPr sz="1600" spc="-1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υπάρχει</a:t>
            </a:r>
            <a:r>
              <a:rPr sz="1600" spc="-5" dirty="0">
                <a:solidFill>
                  <a:srgbClr val="403052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403052"/>
                </a:solidFill>
                <a:latin typeface="Calibri"/>
                <a:cs typeface="Calibri"/>
              </a:rPr>
              <a:t>διαθεσιμότητα.</a:t>
            </a:r>
            <a:endParaRPr sz="16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524000" y="0"/>
            <a:ext cx="9144000" cy="1270"/>
          </a:xfrm>
          <a:custGeom>
            <a:avLst/>
            <a:gdLst/>
            <a:ahLst/>
            <a:cxnLst/>
            <a:rect l="l" t="t" r="r" b="b"/>
            <a:pathLst>
              <a:path w="9144000" h="1270">
                <a:moveTo>
                  <a:pt x="0" y="762"/>
                </a:moveTo>
                <a:lnTo>
                  <a:pt x="9144000" y="762"/>
                </a:lnTo>
                <a:lnTo>
                  <a:pt x="9144000" y="0"/>
                </a:lnTo>
                <a:lnTo>
                  <a:pt x="0" y="0"/>
                </a:lnTo>
                <a:lnTo>
                  <a:pt x="0" y="762"/>
                </a:lnTo>
                <a:close/>
              </a:path>
            </a:pathLst>
          </a:custGeom>
          <a:solidFill>
            <a:srgbClr val="EBEF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543306"/>
            <a:ext cx="12192000" cy="6315075"/>
          </a:xfrm>
          <a:custGeom>
            <a:avLst/>
            <a:gdLst/>
            <a:ahLst/>
            <a:cxnLst/>
            <a:rect l="l" t="t" r="r" b="b"/>
            <a:pathLst>
              <a:path w="9144000" h="6315075">
                <a:moveTo>
                  <a:pt x="0" y="6314693"/>
                </a:moveTo>
                <a:lnTo>
                  <a:pt x="9144000" y="6314693"/>
                </a:lnTo>
                <a:lnTo>
                  <a:pt x="9144000" y="0"/>
                </a:lnTo>
                <a:lnTo>
                  <a:pt x="0" y="0"/>
                </a:lnTo>
                <a:lnTo>
                  <a:pt x="0" y="6314693"/>
                </a:lnTo>
                <a:close/>
              </a:path>
            </a:pathLst>
          </a:custGeom>
          <a:solidFill>
            <a:srgbClr val="EBEFF8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0" y="0"/>
            <a:ext cx="12191999" cy="568960"/>
            <a:chOff x="-7620" y="0"/>
            <a:chExt cx="9164955" cy="568960"/>
          </a:xfrm>
        </p:grpSpPr>
        <p:sp>
          <p:nvSpPr>
            <p:cNvPr id="5" name="object 5"/>
            <p:cNvSpPr/>
            <p:nvPr/>
          </p:nvSpPr>
          <p:spPr>
            <a:xfrm>
              <a:off x="5333" y="762"/>
              <a:ext cx="9138920" cy="542925"/>
            </a:xfrm>
            <a:custGeom>
              <a:avLst/>
              <a:gdLst/>
              <a:ahLst/>
              <a:cxnLst/>
              <a:rect l="l" t="t" r="r" b="b"/>
              <a:pathLst>
                <a:path w="9138920" h="542925">
                  <a:moveTo>
                    <a:pt x="0" y="542544"/>
                  </a:moveTo>
                  <a:lnTo>
                    <a:pt x="9138666" y="542544"/>
                  </a:lnTo>
                  <a:lnTo>
                    <a:pt x="9138666" y="0"/>
                  </a:lnTo>
                  <a:lnTo>
                    <a:pt x="0" y="0"/>
                  </a:lnTo>
                  <a:lnTo>
                    <a:pt x="0" y="542544"/>
                  </a:lnTo>
                  <a:close/>
                </a:path>
              </a:pathLst>
            </a:custGeom>
            <a:solidFill>
              <a:srgbClr val="92CD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5333" y="530352"/>
              <a:ext cx="9138920" cy="26034"/>
            </a:xfrm>
            <a:custGeom>
              <a:avLst/>
              <a:gdLst/>
              <a:ahLst/>
              <a:cxnLst/>
              <a:rect l="l" t="t" r="r" b="b"/>
              <a:pathLst>
                <a:path w="9138920" h="26034">
                  <a:moveTo>
                    <a:pt x="0" y="25907"/>
                  </a:moveTo>
                  <a:lnTo>
                    <a:pt x="9138666" y="25907"/>
                  </a:lnTo>
                  <a:lnTo>
                    <a:pt x="9138666" y="0"/>
                  </a:lnTo>
                  <a:lnTo>
                    <a:pt x="0" y="0"/>
                  </a:lnTo>
                  <a:lnTo>
                    <a:pt x="0" y="25907"/>
                  </a:lnTo>
                  <a:close/>
                </a:path>
              </a:pathLst>
            </a:custGeom>
            <a:solidFill>
              <a:srgbClr val="92CD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333" y="762"/>
              <a:ext cx="9138920" cy="542925"/>
            </a:xfrm>
            <a:custGeom>
              <a:avLst/>
              <a:gdLst/>
              <a:ahLst/>
              <a:cxnLst/>
              <a:rect l="l" t="t" r="r" b="b"/>
              <a:pathLst>
                <a:path w="9138920" h="542925">
                  <a:moveTo>
                    <a:pt x="9138666" y="0"/>
                  </a:moveTo>
                  <a:lnTo>
                    <a:pt x="0" y="0"/>
                  </a:lnTo>
                  <a:lnTo>
                    <a:pt x="0" y="542544"/>
                  </a:lnTo>
                </a:path>
              </a:pathLst>
            </a:custGeom>
            <a:ln w="25908">
              <a:solidFill>
                <a:srgbClr val="92CDD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9" name="object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524000" y="2589277"/>
            <a:ext cx="6406768" cy="4268721"/>
          </a:xfrm>
          <a:prstGeom prst="rect">
            <a:avLst/>
          </a:prstGeom>
        </p:spPr>
      </p:pic>
      <p:sp>
        <p:nvSpPr>
          <p:cNvPr id="10" name="object 10"/>
          <p:cNvSpPr/>
          <p:nvPr/>
        </p:nvSpPr>
        <p:spPr>
          <a:xfrm>
            <a:off x="8759952" y="5105401"/>
            <a:ext cx="1873250" cy="1708785"/>
          </a:xfrm>
          <a:custGeom>
            <a:avLst/>
            <a:gdLst/>
            <a:ahLst/>
            <a:cxnLst/>
            <a:rect l="l" t="t" r="r" b="b"/>
            <a:pathLst>
              <a:path w="1873250" h="1708784">
                <a:moveTo>
                  <a:pt x="0" y="1708404"/>
                </a:moveTo>
                <a:lnTo>
                  <a:pt x="1872996" y="1708404"/>
                </a:lnTo>
                <a:lnTo>
                  <a:pt x="1872996" y="0"/>
                </a:lnTo>
                <a:lnTo>
                  <a:pt x="0" y="0"/>
                </a:lnTo>
                <a:lnTo>
                  <a:pt x="0" y="1708404"/>
                </a:lnTo>
                <a:close/>
              </a:path>
            </a:pathLst>
          </a:custGeom>
          <a:ln w="9144">
            <a:solidFill>
              <a:srgbClr val="92CDD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8855710" y="5133213"/>
            <a:ext cx="1683385" cy="16268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209" marR="21590" algn="ctr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Tα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Τακτικά Εξωτερικά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Ιατρεία </a:t>
            </a:r>
            <a:r>
              <a:rPr sz="1050" spc="-22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λειτουργούν</a:t>
            </a:r>
            <a:r>
              <a:rPr sz="1050" spc="-4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σε</a:t>
            </a:r>
            <a:r>
              <a:rPr sz="1050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ενιαίο</a:t>
            </a:r>
            <a:r>
              <a:rPr sz="1050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και</a:t>
            </a:r>
            <a:endParaRPr sz="1050">
              <a:latin typeface="Calibri"/>
              <a:cs typeface="Calibri"/>
            </a:endParaRPr>
          </a:p>
          <a:p>
            <a:pPr marL="12065" marR="5080" indent="-635" algn="ctr">
              <a:lnSpc>
                <a:spcPct val="100000"/>
              </a:lnSpc>
            </a:pP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ειδικά σχεδιασμένο χώρο στο </a:t>
            </a:r>
            <a:r>
              <a:rPr sz="1050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ισόγειο του κεντρικού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κτιρίου, </a:t>
            </a:r>
            <a:r>
              <a:rPr sz="1050" spc="-22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µε αυτόνομη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υποδοχή και </a:t>
            </a:r>
            <a:r>
              <a:rPr sz="1050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Λογιστήριο</a:t>
            </a:r>
            <a:r>
              <a:rPr sz="1050" spc="-2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Ασθενών.</a:t>
            </a:r>
            <a:r>
              <a:rPr sz="1050" spc="-2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Είναι</a:t>
            </a:r>
            <a:endParaRPr sz="1050">
              <a:latin typeface="Calibri"/>
              <a:cs typeface="Calibri"/>
            </a:endParaRPr>
          </a:p>
          <a:p>
            <a:pPr marL="113030" marR="106680" indent="73025">
              <a:lnSpc>
                <a:spcPct val="100000"/>
              </a:lnSpc>
            </a:pP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πλήρως εξοπλισμένα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µε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 σύγχρονα</a:t>
            </a:r>
            <a:r>
              <a:rPr sz="1050" spc="-5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μηχανήματα</a:t>
            </a:r>
            <a:r>
              <a:rPr sz="1050" spc="-3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και</a:t>
            </a:r>
            <a:endParaRPr sz="1050">
              <a:latin typeface="Calibri"/>
              <a:cs typeface="Calibri"/>
            </a:endParaRPr>
          </a:p>
          <a:p>
            <a:pPr marL="218440" marR="73660" indent="-139065">
              <a:lnSpc>
                <a:spcPct val="100000"/>
              </a:lnSpc>
            </a:pP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στελεχώνονται</a:t>
            </a:r>
            <a:r>
              <a:rPr sz="1050" spc="-5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από</a:t>
            </a:r>
            <a:r>
              <a:rPr sz="1050" spc="-4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ιατρούς </a:t>
            </a:r>
            <a:r>
              <a:rPr sz="1050" spc="-22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dirty="0">
                <a:solidFill>
                  <a:srgbClr val="205868"/>
                </a:solidFill>
                <a:latin typeface="Calibri"/>
                <a:cs typeface="Calibri"/>
              </a:rPr>
              <a:t>όλων</a:t>
            </a:r>
            <a:r>
              <a:rPr sz="1050" spc="-2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των</a:t>
            </a:r>
            <a:r>
              <a:rPr sz="1050" spc="-1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050" spc="-5" dirty="0">
                <a:solidFill>
                  <a:srgbClr val="205868"/>
                </a:solidFill>
                <a:latin typeface="Calibri"/>
                <a:cs typeface="Calibri"/>
              </a:rPr>
              <a:t>ειδικοτήτων.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991869" y="765048"/>
            <a:ext cx="6120765" cy="264816"/>
          </a:xfrm>
          <a:prstGeom prst="rect">
            <a:avLst/>
          </a:prstGeom>
          <a:solidFill>
            <a:srgbClr val="92CDDD"/>
          </a:solidFill>
        </p:spPr>
        <p:txBody>
          <a:bodyPr vert="horz" wrap="square" lIns="0" tIns="18415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145"/>
              </a:spcBef>
            </a:pPr>
            <a:r>
              <a:rPr sz="1600" b="1" spc="-5" dirty="0">
                <a:solidFill>
                  <a:srgbClr val="205868"/>
                </a:solidFill>
                <a:latin typeface="Calibri"/>
                <a:cs typeface="Calibri"/>
              </a:rPr>
              <a:t>Απεριόριστες</a:t>
            </a:r>
            <a:r>
              <a:rPr sz="1600" b="1" spc="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205868"/>
                </a:solidFill>
                <a:latin typeface="Calibri"/>
                <a:cs typeface="Calibri"/>
              </a:rPr>
              <a:t>δωρεάν</a:t>
            </a:r>
            <a:r>
              <a:rPr sz="1600" b="1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επισκέψεις σε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070304" y="1237234"/>
            <a:ext cx="1748789" cy="1000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95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10" dirty="0">
                <a:solidFill>
                  <a:srgbClr val="255E6D"/>
                </a:solidFill>
                <a:latin typeface="Calibri"/>
                <a:cs typeface="Calibri"/>
              </a:rPr>
              <a:t>Γενικό</a:t>
            </a:r>
            <a:r>
              <a:rPr sz="1600" spc="-75" dirty="0">
                <a:solidFill>
                  <a:srgbClr val="255E6D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55E6D"/>
                </a:solidFill>
                <a:latin typeface="Calibri"/>
                <a:cs typeface="Calibri"/>
              </a:rPr>
              <a:t>Χειρουργό</a:t>
            </a:r>
            <a:endParaRPr sz="160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10" dirty="0">
                <a:solidFill>
                  <a:srgbClr val="255E6D"/>
                </a:solidFill>
                <a:latin typeface="Calibri"/>
                <a:cs typeface="Calibri"/>
              </a:rPr>
              <a:t>Καρδιολόγο</a:t>
            </a:r>
            <a:endParaRPr sz="160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10" dirty="0">
                <a:solidFill>
                  <a:srgbClr val="255E6D"/>
                </a:solidFill>
                <a:latin typeface="Calibri"/>
                <a:cs typeface="Calibri"/>
              </a:rPr>
              <a:t>Νευρολόγο</a:t>
            </a:r>
            <a:endParaRPr sz="160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10" dirty="0">
                <a:solidFill>
                  <a:srgbClr val="255E6D"/>
                </a:solidFill>
                <a:latin typeface="Calibri"/>
                <a:cs typeface="Calibri"/>
              </a:rPr>
              <a:t>Παθολόγο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044824" y="1198879"/>
            <a:ext cx="1710689" cy="1000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95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5" dirty="0">
                <a:solidFill>
                  <a:srgbClr val="255E6D"/>
                </a:solidFill>
                <a:latin typeface="Calibri"/>
                <a:cs typeface="Calibri"/>
              </a:rPr>
              <a:t>Νευροχειρουργό</a:t>
            </a:r>
            <a:endParaRPr sz="160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15" dirty="0">
                <a:solidFill>
                  <a:srgbClr val="255E6D"/>
                </a:solidFill>
                <a:latin typeface="Calibri"/>
                <a:cs typeface="Calibri"/>
              </a:rPr>
              <a:t>Ορθοπεδικό</a:t>
            </a:r>
            <a:endParaRPr sz="160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10" dirty="0">
                <a:solidFill>
                  <a:srgbClr val="255E6D"/>
                </a:solidFill>
                <a:latin typeface="Calibri"/>
                <a:cs typeface="Calibri"/>
              </a:rPr>
              <a:t>Πνευμονολόγο</a:t>
            </a:r>
            <a:endParaRPr sz="160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sz="1600" spc="-50" dirty="0">
                <a:solidFill>
                  <a:srgbClr val="255E6D"/>
                </a:solidFill>
                <a:latin typeface="Calibri"/>
                <a:cs typeface="Calibri"/>
              </a:rPr>
              <a:t>ΩΡΛ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291455" y="4124325"/>
            <a:ext cx="493585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σε</a:t>
            </a:r>
            <a:r>
              <a:rPr sz="1600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εξετάσεις</a:t>
            </a: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που</a:t>
            </a:r>
            <a:r>
              <a:rPr sz="160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δεν</a:t>
            </a: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 γίνεται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 χρήση</a:t>
            </a:r>
            <a:r>
              <a:rPr sz="1600" spc="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παραπεμπτικού</a:t>
            </a:r>
            <a:r>
              <a:rPr sz="1600" spc="3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205868"/>
                </a:solidFill>
                <a:latin typeface="Calibri"/>
                <a:cs typeface="Calibri"/>
              </a:rPr>
              <a:t>ΕΟΠΥΥ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193792" y="2737104"/>
            <a:ext cx="2753995" cy="260968"/>
          </a:xfrm>
          <a:prstGeom prst="rect">
            <a:avLst/>
          </a:prstGeom>
          <a:solidFill>
            <a:srgbClr val="92CDDD"/>
          </a:solidFill>
        </p:spPr>
        <p:txBody>
          <a:bodyPr vert="horz" wrap="square" lIns="0" tIns="14604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114"/>
              </a:spcBef>
            </a:pP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Επισκέψεις στην</a:t>
            </a:r>
            <a:r>
              <a:rPr sz="1600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τιμή </a:t>
            </a: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των</a:t>
            </a:r>
            <a:r>
              <a:rPr sz="1600" spc="1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205868"/>
                </a:solidFill>
                <a:latin typeface="Calibri"/>
                <a:cs typeface="Calibri"/>
              </a:rPr>
              <a:t>€20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949947" y="2737561"/>
            <a:ext cx="245935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για</a:t>
            </a:r>
            <a:r>
              <a:rPr sz="1600" spc="-2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τις</a:t>
            </a:r>
            <a:r>
              <a:rPr sz="1600" spc="-2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υπόλοιπες</a:t>
            </a:r>
            <a:r>
              <a:rPr sz="1600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ειδικότητες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12079" y="3860291"/>
            <a:ext cx="4072254" cy="260328"/>
          </a:xfrm>
          <a:prstGeom prst="rect">
            <a:avLst/>
          </a:prstGeom>
          <a:solidFill>
            <a:srgbClr val="92CDDD"/>
          </a:solidFill>
        </p:spPr>
        <p:txBody>
          <a:bodyPr vert="horz" wrap="square" lIns="0" tIns="13970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110"/>
              </a:spcBef>
            </a:pPr>
            <a:r>
              <a:rPr sz="1600" spc="-15" dirty="0">
                <a:solidFill>
                  <a:srgbClr val="205868"/>
                </a:solidFill>
                <a:latin typeface="Calibri"/>
                <a:cs typeface="Calibri"/>
              </a:rPr>
              <a:t>Προνομιακός</a:t>
            </a:r>
            <a:r>
              <a:rPr sz="1600" spc="3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15" dirty="0">
                <a:solidFill>
                  <a:srgbClr val="205868"/>
                </a:solidFill>
                <a:latin typeface="Calibri"/>
                <a:cs typeface="Calibri"/>
              </a:rPr>
              <a:t>τιμοκατάλογος</a:t>
            </a:r>
            <a:r>
              <a:rPr sz="1600" spc="10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με</a:t>
            </a:r>
            <a:r>
              <a:rPr sz="1600" spc="36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10" dirty="0">
                <a:solidFill>
                  <a:srgbClr val="205868"/>
                </a:solidFill>
                <a:latin typeface="Calibri"/>
                <a:cs typeface="Calibri"/>
              </a:rPr>
              <a:t>βάση</a:t>
            </a:r>
            <a:r>
              <a:rPr sz="1600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το</a:t>
            </a:r>
            <a:r>
              <a:rPr sz="1600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205868"/>
                </a:solidFill>
                <a:latin typeface="Calibri"/>
                <a:cs typeface="Calibri"/>
              </a:rPr>
              <a:t>ΦΕΚ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307838" y="3122167"/>
            <a:ext cx="48628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*Σε</a:t>
            </a:r>
            <a:r>
              <a:rPr sz="1200" i="1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περίπτωση</a:t>
            </a:r>
            <a:r>
              <a:rPr sz="1200" i="1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επιθυμίας</a:t>
            </a:r>
            <a:r>
              <a:rPr sz="1200" i="1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συγκεκριμένου</a:t>
            </a:r>
            <a:r>
              <a:rPr sz="1200" i="1" spc="2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ιατρού (Διευθυντή</a:t>
            </a:r>
            <a:r>
              <a:rPr sz="1200" i="1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&amp; Αν</a:t>
            </a:r>
            <a:r>
              <a:rPr sz="1200" i="1" spc="1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Διευθυντή) </a:t>
            </a:r>
            <a:r>
              <a:rPr sz="1200" i="1" spc="-254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έκπτωση</a:t>
            </a:r>
            <a:r>
              <a:rPr sz="1200" i="1" spc="-1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25%</a:t>
            </a:r>
            <a:endParaRPr sz="12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**Εξαιρούνται</a:t>
            </a:r>
            <a:r>
              <a:rPr sz="1200" i="1" spc="-4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των</a:t>
            </a:r>
            <a:r>
              <a:rPr sz="1200" i="1" spc="-2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παροχών</a:t>
            </a:r>
            <a:r>
              <a:rPr sz="1200" i="1" spc="-15" dirty="0">
                <a:solidFill>
                  <a:srgbClr val="205868"/>
                </a:solidFill>
                <a:latin typeface="Calibri"/>
                <a:cs typeface="Calibri"/>
              </a:rPr>
              <a:t> Ειδικά</a:t>
            </a:r>
            <a:r>
              <a:rPr sz="1200" i="1" spc="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Κέντρα</a:t>
            </a:r>
            <a:r>
              <a:rPr sz="1200" i="1" spc="-15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dirty="0">
                <a:solidFill>
                  <a:srgbClr val="205868"/>
                </a:solidFill>
                <a:latin typeface="Calibri"/>
                <a:cs typeface="Calibri"/>
              </a:rPr>
              <a:t>&amp;</a:t>
            </a:r>
            <a:r>
              <a:rPr sz="1200" i="1" spc="-10" dirty="0">
                <a:solidFill>
                  <a:srgbClr val="205868"/>
                </a:solidFill>
                <a:latin typeface="Calibri"/>
                <a:cs typeface="Calibri"/>
              </a:rPr>
              <a:t> </a:t>
            </a:r>
            <a:r>
              <a:rPr sz="1200" i="1" spc="-5" dirty="0">
                <a:solidFill>
                  <a:srgbClr val="205868"/>
                </a:solidFill>
                <a:latin typeface="Calibri"/>
                <a:cs typeface="Calibri"/>
              </a:rPr>
              <a:t>Ιατρεία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49716985-4A36-A520-3866-905416B38F8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478526" y="-72425"/>
            <a:ext cx="6521885" cy="6899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spc="-15" dirty="0">
                <a:solidFill>
                  <a:srgbClr val="205868"/>
                </a:solidFill>
                <a:latin typeface="Calibri"/>
                <a:cs typeface="Calibri"/>
              </a:rPr>
              <a:t>Εξωτερικά Τακτικά Ιατρεία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FD4CAB8-0565-4D71-A5C7-77695F7833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066"/>
          <a:stretch/>
        </p:blipFill>
        <p:spPr>
          <a:xfrm>
            <a:off x="271305" y="12966"/>
            <a:ext cx="11917947" cy="684503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71305" y="3546388"/>
            <a:ext cx="9993854" cy="655961"/>
          </a:xfrm>
          <a:prstGeom prst="rect">
            <a:avLst/>
          </a:prstGeom>
          <a:solidFill>
            <a:srgbClr val="E0402F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contourClr>
              <a:schemeClr val="accent1">
                <a:shade val="70000"/>
                <a:satMod val="105000"/>
              </a:schemeClr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cs typeface="+mn-cs"/>
              </a:rPr>
              <a:t>μια νέα, ψηφιακή εμπειρία εξυπηρέτησης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1305" y="2490545"/>
            <a:ext cx="4565227" cy="836705"/>
          </a:xfrm>
          <a:prstGeom prst="rect">
            <a:avLst/>
          </a:prstGeom>
          <a:solidFill>
            <a:srgbClr val="7A1224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contourClr>
              <a:schemeClr val="accent1">
                <a:shade val="70000"/>
                <a:satMod val="105000"/>
              </a:schemeClr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25301" y="122768"/>
            <a:ext cx="266700" cy="243417"/>
          </a:xfrm>
        </p:spPr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fld id="{EF84E488-9862-49CF-940E-D1874C23848D}" type="slidenum"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  <a:cs typeface="+mn-cs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t>14</a:t>
            </a:fld>
            <a:endParaRPr kumimoji="0" lang="en-GB" sz="933" b="0" i="0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sp>
        <p:nvSpPr>
          <p:cNvPr id="9" name="TextBox 3"/>
          <p:cNvSpPr txBox="1"/>
          <p:nvPr/>
        </p:nvSpPr>
        <p:spPr bwMode="gray">
          <a:xfrm>
            <a:off x="626809" y="2490606"/>
            <a:ext cx="9850824" cy="728341"/>
          </a:xfrm>
          <a:prstGeom prst="rect">
            <a:avLst/>
          </a:prstGeom>
          <a:noFill/>
        </p:spPr>
        <p:txBody>
          <a:bodyPr wrap="square" lIns="0" tIns="0" bIns="0" rtlCol="0" anchor="ctr" anchorCtr="0">
            <a:spAutoFit/>
          </a:bodyPr>
          <a:lstStyle/>
          <a:p>
            <a:pPr marL="16933" marR="0" lvl="0" indent="0" algn="l" defTabSz="121917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1981997" algn="l"/>
              </a:tabLst>
              <a:defRPr/>
            </a:pPr>
            <a:r>
              <a:rPr kumimoji="0" lang="el-GR" sz="3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Δημιουργήσαμε</a:t>
            </a:r>
            <a:endParaRPr kumimoji="0" lang="en-US" sz="36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object 6"/>
          <p:cNvSpPr txBox="1"/>
          <p:nvPr/>
        </p:nvSpPr>
        <p:spPr>
          <a:xfrm>
            <a:off x="5070809" y="3231249"/>
            <a:ext cx="3360000" cy="9600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marL="16933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" name="object 6"/>
          <p:cNvSpPr txBox="1"/>
          <p:nvPr/>
        </p:nvSpPr>
        <p:spPr>
          <a:xfrm>
            <a:off x="4440916" y="4366429"/>
            <a:ext cx="1680000" cy="96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marL="16933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41C02E-F1FE-4942-A5B6-C251103A8D4D}"/>
              </a:ext>
            </a:extLst>
          </p:cNvPr>
          <p:cNvSpPr/>
          <p:nvPr/>
        </p:nvSpPr>
        <p:spPr>
          <a:xfrm>
            <a:off x="275539" y="4626509"/>
            <a:ext cx="6607582" cy="566860"/>
          </a:xfrm>
          <a:prstGeom prst="rect">
            <a:avLst/>
          </a:prstGeom>
          <a:solidFill>
            <a:srgbClr val="7A1224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contourClr>
              <a:schemeClr val="accent1">
                <a:shade val="70000"/>
                <a:satMod val="105000"/>
              </a:schemeClr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egular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FB783CE-529B-499B-85A1-310701F733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79675" y="6014389"/>
            <a:ext cx="810481" cy="810481"/>
          </a:xfrm>
          <a:prstGeom prst="rect">
            <a:avLst/>
          </a:prstGeom>
        </p:spPr>
      </p:pic>
      <p:pic>
        <p:nvPicPr>
          <p:cNvPr id="15" name="Εικόνα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8536" y="6184679"/>
            <a:ext cx="2370152" cy="558028"/>
          </a:xfrm>
          <a:prstGeom prst="rect">
            <a:avLst/>
          </a:prstGeom>
        </p:spPr>
      </p:pic>
      <p:pic>
        <p:nvPicPr>
          <p:cNvPr id="2" name="Εικόνα 1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1CDBFC81-421B-8B6A-9FEC-A0AC27A2C1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3121" y="6136248"/>
            <a:ext cx="1164428" cy="65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591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AFCE85-8FB3-43B3-B677-CA9C16E0F1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58" t="19286" r="3810" b="8925"/>
          <a:stretch/>
        </p:blipFill>
        <p:spPr>
          <a:xfrm>
            <a:off x="1" y="10048"/>
            <a:ext cx="12191998" cy="6839020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ACDAD3-CCF9-4C9F-A53B-FD5210253613}" type="slidenum">
              <a:rPr lang="it-IT"/>
              <a:pPr/>
              <a:t>15</a:t>
            </a:fld>
            <a:endParaRPr lang="it-IT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4D182F5-A8F7-48C4-AB15-10B957EFCCD7}"/>
              </a:ext>
            </a:extLst>
          </p:cNvPr>
          <p:cNvSpPr/>
          <p:nvPr/>
        </p:nvSpPr>
        <p:spPr>
          <a:xfrm>
            <a:off x="411542" y="215520"/>
            <a:ext cx="3504486" cy="759182"/>
          </a:xfrm>
          <a:prstGeom prst="rect">
            <a:avLst/>
          </a:prstGeom>
          <a:solidFill>
            <a:schemeClr val="bg1">
              <a:alpha val="69000"/>
            </a:schemeClr>
          </a:solidFill>
        </p:spPr>
        <p:txBody>
          <a:bodyPr wrap="none">
            <a:spAutoFit/>
          </a:bodyPr>
          <a:lstStyle/>
          <a:p>
            <a:r>
              <a:rPr lang="el-GR" sz="2800" dirty="0">
                <a:solidFill>
                  <a:srgbClr val="C00000"/>
                </a:solidFill>
              </a:rPr>
              <a:t>Εγγραφή </a:t>
            </a:r>
            <a:r>
              <a:rPr lang="en-US" sz="2800" dirty="0">
                <a:solidFill>
                  <a:srgbClr val="C00000"/>
                </a:solidFill>
              </a:rPr>
              <a:t>E- services</a:t>
            </a:r>
          </a:p>
          <a:p>
            <a:r>
              <a:rPr lang="en-US" sz="2800" dirty="0">
                <a:solidFill>
                  <a:srgbClr val="0070C0"/>
                </a:solidFill>
              </a:rPr>
              <a:t>B</a:t>
            </a:r>
            <a:r>
              <a:rPr lang="el-GR" sz="2800" dirty="0" err="1">
                <a:solidFill>
                  <a:srgbClr val="0070C0"/>
                </a:solidFill>
              </a:rPr>
              <a:t>ήμα</a:t>
            </a:r>
            <a:r>
              <a:rPr lang="el-GR" sz="2800" dirty="0">
                <a:solidFill>
                  <a:srgbClr val="0070C0"/>
                </a:solidFill>
              </a:rPr>
              <a:t> 1: </a:t>
            </a:r>
            <a:r>
              <a:rPr lang="en-US" sz="2800" dirty="0">
                <a:solidFill>
                  <a:srgbClr val="0070C0"/>
                </a:solidFill>
              </a:rPr>
              <a:t>generali.g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6292E8-2642-410C-BAEF-88F562FE4E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32073" y="5958635"/>
            <a:ext cx="810481" cy="810481"/>
          </a:xfrm>
          <a:prstGeom prst="rect">
            <a:avLst/>
          </a:prstGeom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0ECEFEE8-6F9E-4490-A0EA-E0CBBD3D86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0047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B80388F-630D-4AFD-8440-040E08DDC6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9927" y="1460695"/>
            <a:ext cx="8172624" cy="4583949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475" y="6141585"/>
            <a:ext cx="2370152" cy="558028"/>
          </a:xfrm>
          <a:prstGeom prst="rect">
            <a:avLst/>
          </a:prstGeom>
        </p:spPr>
      </p:pic>
      <p:pic>
        <p:nvPicPr>
          <p:cNvPr id="2" name="Εικόνα 1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EF15346B-C474-CBDF-924E-EA8DBF58A41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563" y="6134638"/>
            <a:ext cx="1108467" cy="624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6128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AFCE85-8FB3-43B3-B677-CA9C16E0F1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58" t="19286" r="3810" b="8925"/>
          <a:stretch/>
        </p:blipFill>
        <p:spPr>
          <a:xfrm>
            <a:off x="-1119" y="10048"/>
            <a:ext cx="12191998" cy="6839020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ACDAD3-CCF9-4C9F-A53B-FD5210253613}" type="slidenum">
              <a:rPr lang="it-IT"/>
              <a:pPr/>
              <a:t>16</a:t>
            </a:fld>
            <a:endParaRPr lang="it-IT"/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F2D6A554-BD2C-4DEF-BBB9-00FCDB1A4ECD}"/>
              </a:ext>
            </a:extLst>
          </p:cNvPr>
          <p:cNvSpPr txBox="1">
            <a:spLocks noChangeAspect="1"/>
          </p:cNvSpPr>
          <p:nvPr/>
        </p:nvSpPr>
        <p:spPr bwMode="auto">
          <a:xfrm>
            <a:off x="1121" y="2734914"/>
            <a:ext cx="3037476" cy="3213283"/>
          </a:xfrm>
          <a:prstGeom prst="rect">
            <a:avLst/>
          </a:prstGeom>
          <a:solidFill>
            <a:srgbClr val="F2F2F2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C21B17"/>
              </a:buClr>
              <a:buFont typeface="Wingdings" pitchFamily="2" charset="2"/>
              <a:buChar char="v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7550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5100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92300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49500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06700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3900" indent="-179388" algn="l" defTabSz="457200" rtl="0" fontAlgn="base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har char="•"/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7" lvl="1" indent="0">
              <a:lnSpc>
                <a:spcPct val="100000"/>
              </a:lnSpc>
              <a:spcAft>
                <a:spcPts val="0"/>
              </a:spcAft>
              <a:buClr>
                <a:srgbClr val="C21B17"/>
              </a:buClr>
              <a:buNone/>
            </a:pPr>
            <a:endParaRPr lang="en-US" b="1" kern="0" dirty="0"/>
          </a:p>
          <a:p>
            <a:pPr lvl="1"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l-GR" sz="1600" b="1" kern="0" dirty="0">
                <a:solidFill>
                  <a:srgbClr val="FF0000"/>
                </a:solidFill>
              </a:rPr>
              <a:t>Εύκολη πρόσβαση </a:t>
            </a:r>
            <a:r>
              <a:rPr lang="el-GR" sz="1600" kern="0" dirty="0"/>
              <a:t>στα ασφαλιστήρια συμβόλαια όπου κι αν βρίσκεστε</a:t>
            </a:r>
            <a:endParaRPr lang="en-US" sz="1600" kern="0" dirty="0"/>
          </a:p>
          <a:p>
            <a:pPr lvl="1"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l-GR" sz="1600" b="1" kern="0" dirty="0">
                <a:solidFill>
                  <a:srgbClr val="FF0000"/>
                </a:solidFill>
              </a:rPr>
              <a:t>Άμεση ενημέρωση </a:t>
            </a:r>
            <a:r>
              <a:rPr lang="el-GR" sz="1600" kern="0" dirty="0"/>
              <a:t>και παρακολούθηση του λογαριασμού για τους εργαζόμενους</a:t>
            </a:r>
          </a:p>
          <a:p>
            <a:pPr lvl="1"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l-GR" sz="1600" kern="0" dirty="0"/>
              <a:t>Δυνατότητα </a:t>
            </a:r>
            <a:r>
              <a:rPr lang="el-GR" sz="1600" b="1" kern="0" dirty="0">
                <a:solidFill>
                  <a:srgbClr val="FF0000"/>
                </a:solidFill>
              </a:rPr>
              <a:t>αποθήκευσης</a:t>
            </a:r>
            <a:r>
              <a:rPr lang="el-GR" sz="1600" kern="0" dirty="0"/>
              <a:t> όλων των εγγράφων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4D182F5-A8F7-48C4-AB15-10B957EFCCD7}"/>
              </a:ext>
            </a:extLst>
          </p:cNvPr>
          <p:cNvSpPr/>
          <p:nvPr/>
        </p:nvSpPr>
        <p:spPr>
          <a:xfrm>
            <a:off x="411542" y="215520"/>
            <a:ext cx="4516686" cy="425758"/>
          </a:xfrm>
          <a:prstGeom prst="rect">
            <a:avLst/>
          </a:prstGeom>
          <a:solidFill>
            <a:schemeClr val="bg1">
              <a:alpha val="69000"/>
            </a:schemeClr>
          </a:solidFill>
        </p:spPr>
        <p:txBody>
          <a:bodyPr wrap="none">
            <a:spAutoFit/>
          </a:bodyPr>
          <a:lstStyle/>
          <a:p>
            <a:r>
              <a:rPr lang="el-GR" sz="2800" dirty="0">
                <a:solidFill>
                  <a:srgbClr val="C00000"/>
                </a:solidFill>
              </a:rPr>
              <a:t>Πλοήγηση στο </a:t>
            </a:r>
            <a:r>
              <a:rPr lang="en-US" sz="2800" dirty="0">
                <a:solidFill>
                  <a:srgbClr val="C00000"/>
                </a:solidFill>
              </a:rPr>
              <a:t>My Generali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6292E8-2642-410C-BAEF-88F562FE4E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30969" y="5983887"/>
            <a:ext cx="810481" cy="810481"/>
          </a:xfrm>
          <a:prstGeom prst="rect">
            <a:avLst/>
          </a:prstGeom>
        </p:spPr>
      </p:pic>
      <p:pic>
        <p:nvPicPr>
          <p:cNvPr id="13" name="Picture 11">
            <a:extLst>
              <a:ext uri="{FF2B5EF4-FFF2-40B4-BE49-F238E27FC236}">
                <a16:creationId xmlns:a16="http://schemas.microsoft.com/office/drawing/2014/main" id="{0ECEFEE8-6F9E-4490-A0EA-E0CBBD3D86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0047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23B217A-334A-4BAC-9319-809A3993262E}"/>
              </a:ext>
            </a:extLst>
          </p:cNvPr>
          <p:cNvSpPr txBox="1"/>
          <p:nvPr/>
        </p:nvSpPr>
        <p:spPr>
          <a:xfrm>
            <a:off x="4022378" y="3187292"/>
            <a:ext cx="1209500" cy="374526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el-GR" sz="1100" dirty="0">
                <a:solidFill>
                  <a:schemeClr val="bg1"/>
                </a:solidFill>
              </a:rPr>
              <a:t>Εταιρεία ΧΧΧΧ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5450C-1DD2-4FFC-ABA8-54095B7D21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1555" y="976712"/>
            <a:ext cx="8811403" cy="497148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4188B6-D079-4FDC-BCF1-6D0EB7C83A1F}"/>
              </a:ext>
            </a:extLst>
          </p:cNvPr>
          <p:cNvSpPr txBox="1"/>
          <p:nvPr/>
        </p:nvSpPr>
        <p:spPr>
          <a:xfrm>
            <a:off x="5670203" y="4307764"/>
            <a:ext cx="1044922" cy="18210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ts val="700"/>
              </a:lnSpc>
              <a:spcBef>
                <a:spcPts val="0"/>
              </a:spcBef>
            </a:pPr>
            <a:r>
              <a:rPr lang="el-GR" sz="700" dirty="0"/>
              <a:t>Ονοματεπώνυμο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82D7B6A-39AD-4770-8284-57DBCB276C15}"/>
              </a:ext>
            </a:extLst>
          </p:cNvPr>
          <p:cNvSpPr/>
          <p:nvPr/>
        </p:nvSpPr>
        <p:spPr>
          <a:xfrm>
            <a:off x="4543425" y="2162175"/>
            <a:ext cx="619125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3925B6C-AEE5-4E54-81D4-3A069FE009D4}"/>
              </a:ext>
            </a:extLst>
          </p:cNvPr>
          <p:cNvSpPr/>
          <p:nvPr/>
        </p:nvSpPr>
        <p:spPr>
          <a:xfrm>
            <a:off x="5010150" y="4905375"/>
            <a:ext cx="2962275" cy="1238250"/>
          </a:xfrm>
          <a:prstGeom prst="ellipse">
            <a:avLst/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pic>
        <p:nvPicPr>
          <p:cNvPr id="14" name="Εικόνα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0270" y="6154103"/>
            <a:ext cx="2370152" cy="558028"/>
          </a:xfrm>
          <a:prstGeom prst="rect">
            <a:avLst/>
          </a:prstGeom>
        </p:spPr>
      </p:pic>
      <p:pic>
        <p:nvPicPr>
          <p:cNvPr id="2" name="Εικόνα 1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0876C64F-54D7-ACCF-063C-0C7497B174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668" y="6072165"/>
            <a:ext cx="1159055" cy="65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96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0" name="Object 2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925301" y="122768"/>
            <a:ext cx="266700" cy="243417"/>
          </a:xfrm>
        </p:spPr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F84E488-9862-49CF-940E-D1874C23848D}" type="slidenum"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BD2027"/>
                </a:solidFill>
                <a:effectLst/>
                <a:uLnTx/>
                <a:uFillTx/>
                <a:latin typeface="Arial Regular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BD2027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AFA74B4-D5D9-4417-A487-FCA1A7194BA1}"/>
              </a:ext>
            </a:extLst>
          </p:cNvPr>
          <p:cNvSpPr/>
          <p:nvPr/>
        </p:nvSpPr>
        <p:spPr>
          <a:xfrm>
            <a:off x="266702" y="173755"/>
            <a:ext cx="3639138" cy="425758"/>
          </a:xfrm>
          <a:prstGeom prst="rect">
            <a:avLst/>
          </a:prstGeom>
          <a:solidFill>
            <a:schemeClr val="bg1">
              <a:alpha val="44000"/>
            </a:schemeClr>
          </a:solidFill>
        </p:spPr>
        <p:txBody>
          <a:bodyPr wrap="non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rgbClr val="C21B17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- services/ E-claims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2416DF2B-3A72-4AB6-BAAD-1F2B5EE818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450" y="2140193"/>
            <a:ext cx="10791905" cy="3866956"/>
          </a:xfrm>
          <a:prstGeom prst="rect">
            <a:avLst/>
          </a:prstGeom>
          <a:solidFill>
            <a:schemeClr val="bg1">
              <a:alpha val="66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>
              <a:buClr>
                <a:srgbClr val="C21B17"/>
              </a:buClr>
            </a:pPr>
            <a:r>
              <a:rPr lang="el-GR" sz="1600" b="1" dirty="0">
                <a:solidFill>
                  <a:srgbClr val="000000"/>
                </a:solidFill>
              </a:rPr>
              <a:t>Το </a:t>
            </a:r>
            <a:r>
              <a:rPr lang="el-GR" sz="1600" b="1" dirty="0" err="1">
                <a:solidFill>
                  <a:srgbClr val="000000"/>
                </a:solidFill>
              </a:rPr>
              <a:t>MyGenerali</a:t>
            </a:r>
            <a:r>
              <a:rPr lang="el-GR" sz="1600" b="1" dirty="0">
                <a:solidFill>
                  <a:srgbClr val="000000"/>
                </a:solidFill>
              </a:rPr>
              <a:t> </a:t>
            </a:r>
            <a:r>
              <a:rPr lang="el-GR" sz="1600" b="1" dirty="0" err="1">
                <a:solidFill>
                  <a:srgbClr val="000000"/>
                </a:solidFill>
              </a:rPr>
              <a:t>App</a:t>
            </a:r>
            <a:r>
              <a:rPr lang="el-GR" sz="1600" b="1" dirty="0">
                <a:solidFill>
                  <a:srgbClr val="000000"/>
                </a:solidFill>
              </a:rPr>
              <a:t> αποτελεί μία λύση 360ᵒ για τον πελάτη της Generali. Συγκεντρώνει για 1η φορά όλες</a:t>
            </a:r>
            <a:r>
              <a:rPr lang="en-US" sz="1600" b="1" dirty="0">
                <a:solidFill>
                  <a:srgbClr val="000000"/>
                </a:solidFill>
              </a:rPr>
              <a:t> </a:t>
            </a:r>
            <a:r>
              <a:rPr lang="el-GR" sz="1600" b="1" dirty="0">
                <a:solidFill>
                  <a:srgbClr val="000000"/>
                </a:solidFill>
              </a:rPr>
              <a:t>τις ψηφιακές υπηρεσίες της Generali σε ένα άμεσα </a:t>
            </a:r>
            <a:r>
              <a:rPr lang="el-GR" sz="1600" b="1" dirty="0" err="1">
                <a:solidFill>
                  <a:srgbClr val="000000"/>
                </a:solidFill>
              </a:rPr>
              <a:t>προσβάσιμο</a:t>
            </a:r>
            <a:r>
              <a:rPr lang="el-GR" sz="1600" b="1" dirty="0">
                <a:solidFill>
                  <a:srgbClr val="000000"/>
                </a:solidFill>
              </a:rPr>
              <a:t> σημείο.</a:t>
            </a:r>
            <a:endParaRPr lang="en-US" sz="1600" b="1" dirty="0">
              <a:solidFill>
                <a:srgbClr val="000000"/>
              </a:solidFill>
            </a:endParaRPr>
          </a:p>
          <a:p>
            <a:pPr lvl="0" algn="just">
              <a:buClr>
                <a:srgbClr val="C21B17"/>
              </a:buClr>
            </a:pPr>
            <a:endParaRPr lang="el-GR" sz="1600" b="1" dirty="0">
              <a:solidFill>
                <a:srgbClr val="000000"/>
              </a:solidFill>
            </a:endParaRPr>
          </a:p>
          <a:p>
            <a:pPr lvl="0" algn="just">
              <a:buClr>
                <a:srgbClr val="C21B17"/>
              </a:buClr>
            </a:pPr>
            <a:endParaRPr lang="en-US" sz="1600" b="1" dirty="0">
              <a:solidFill>
                <a:srgbClr val="000000"/>
              </a:solidFill>
            </a:endParaRPr>
          </a:p>
          <a:p>
            <a:pPr lvl="0" algn="just">
              <a:buClr>
                <a:srgbClr val="C21B17"/>
              </a:buClr>
            </a:pPr>
            <a:r>
              <a:rPr lang="en-US" sz="1600" b="1" dirty="0">
                <a:solidFill>
                  <a:srgbClr val="000000"/>
                </a:solidFill>
              </a:rPr>
              <a:t>T</a:t>
            </a:r>
            <a:r>
              <a:rPr lang="el-GR" sz="1600" b="1" dirty="0">
                <a:solidFill>
                  <a:srgbClr val="000000"/>
                </a:solidFill>
              </a:rPr>
              <a:t>ι δυνατότητες έχω μέσα από την πλατφόρμα:</a:t>
            </a:r>
          </a:p>
          <a:p>
            <a:pPr marL="285750" lvl="0" indent="-285750" algn="just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rgbClr val="000000"/>
                </a:solidFill>
                <a:ea typeface="Arial Unicode MS" panose="020B0604020202020204" pitchFamily="34" charset="-128"/>
              </a:rPr>
              <a:t>Αναγγελία νοσηλείας</a:t>
            </a:r>
          </a:p>
          <a:p>
            <a:pPr marL="285750" lvl="0" indent="-285750" algn="just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rgbClr val="000000"/>
                </a:solidFill>
                <a:ea typeface="Arial Unicode MS" panose="020B0604020202020204" pitchFamily="34" charset="-128"/>
              </a:rPr>
              <a:t>Προέγκριση νοσηλείας</a:t>
            </a:r>
          </a:p>
          <a:p>
            <a:pPr marL="285750" lvl="0" indent="-285750" algn="just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rgbClr val="000000"/>
                </a:solidFill>
              </a:rPr>
              <a:t>Ηλεκτρονική Υποβολή εξόδων</a:t>
            </a:r>
            <a:endParaRPr lang="en-US" sz="1600" b="1" dirty="0">
              <a:solidFill>
                <a:srgbClr val="000000"/>
              </a:solidFill>
            </a:endParaRPr>
          </a:p>
          <a:p>
            <a:pPr lvl="0" algn="just">
              <a:buClr>
                <a:srgbClr val="C21B17"/>
              </a:buClr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457200" marR="0" lvl="1" indent="0" algn="l" defTabSz="457200" rtl="0" eaLnBrk="0" fontAlgn="base" latinLnBrk="0" hangingPunct="0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>
                <a:srgbClr val="C21B17"/>
              </a:buClr>
              <a:buSzTx/>
              <a:buFont typeface="Wingdings" pitchFamily="2" charset="2"/>
              <a:buNone/>
              <a:tabLst>
                <a:tab pos="228600" algn="l"/>
              </a:tabLst>
              <a:defRPr/>
            </a:pP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Arial Unicode MS" panose="020B0604020202020204" pitchFamily="34" charset="-128"/>
              <a:cs typeface="Arial" pitchFamily="34" charset="0"/>
            </a:endParaRPr>
          </a:p>
        </p:txBody>
      </p:sp>
      <p:sp>
        <p:nvSpPr>
          <p:cNvPr id="19" name="Titolo 4">
            <a:extLst>
              <a:ext uri="{FF2B5EF4-FFF2-40B4-BE49-F238E27FC236}">
                <a16:creationId xmlns:a16="http://schemas.microsoft.com/office/drawing/2014/main" id="{8EB85BE6-BE32-4BDB-A059-94B627E66089}"/>
              </a:ext>
            </a:extLst>
          </p:cNvPr>
          <p:cNvSpPr txBox="1">
            <a:spLocks/>
          </p:cNvSpPr>
          <p:nvPr/>
        </p:nvSpPr>
        <p:spPr>
          <a:xfrm>
            <a:off x="266699" y="602928"/>
            <a:ext cx="5097446" cy="557212"/>
          </a:xfrm>
          <a:prstGeom prst="rect">
            <a:avLst/>
          </a:prstGeom>
          <a:solidFill>
            <a:schemeClr val="bg1">
              <a:alpha val="40000"/>
            </a:schemeClr>
          </a:solidFill>
        </p:spPr>
        <p:txBody>
          <a:bodyPr/>
          <a:lstStyle>
            <a:lvl1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21B17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2pPr>
            <a:lvl3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3pPr>
            <a:lvl4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4pPr>
            <a:lvl5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5pPr>
            <a:lvl6pPr marL="4572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6pPr>
            <a:lvl7pPr marL="9144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7pPr>
            <a:lvl8pPr marL="13716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8pPr>
            <a:lvl9pPr marL="18288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Arial Regular"/>
                <a:cs typeface="Arial" pitchFamily="34" charset="0"/>
              </a:rPr>
              <a:t> </a:t>
            </a:r>
            <a:r>
              <a:rPr lang="en-US" dirty="0">
                <a:solidFill>
                  <a:srgbClr val="0070C0"/>
                </a:solidFill>
                <a:latin typeface="Arial"/>
                <a:ea typeface="Arial Regular"/>
                <a:cs typeface="Arial" pitchFamily="34" charset="0"/>
              </a:rPr>
              <a:t>My Generali – </a:t>
            </a:r>
            <a:r>
              <a:rPr lang="el-GR" dirty="0">
                <a:solidFill>
                  <a:srgbClr val="0070C0"/>
                </a:solidFill>
                <a:latin typeface="Arial"/>
                <a:ea typeface="Arial Regular"/>
                <a:cs typeface="Arial" pitchFamily="34" charset="0"/>
              </a:rPr>
              <a:t>Ψηφιακή Εποχή</a:t>
            </a: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1600" b="0" i="0" u="sng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Arial Regular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A1DAE71-AC2F-4F3C-AAA1-F4E37B6D8A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53040" y="6005552"/>
            <a:ext cx="810481" cy="8104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9B2B8B0-1B8E-4AC9-8641-1FF4B9A1C1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6543"/>
          <a:stretch/>
        </p:blipFill>
        <p:spPr>
          <a:xfrm>
            <a:off x="5857402" y="3272979"/>
            <a:ext cx="5235394" cy="202139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263999" y="17339"/>
            <a:ext cx="7605643" cy="1759456"/>
          </a:xfrm>
          <a:prstGeom prst="rect">
            <a:avLst/>
          </a:prstGeom>
          <a:solidFill>
            <a:srgbClr val="00B0F0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el-GR" sz="1600" b="1" dirty="0">
                <a:solidFill>
                  <a:schemeClr val="bg1"/>
                </a:solidFill>
              </a:rPr>
              <a:t>Αποκλειστικά </a:t>
            </a:r>
            <a:r>
              <a:rPr lang="en-US" sz="1600" b="1" dirty="0">
                <a:solidFill>
                  <a:schemeClr val="bg1"/>
                </a:solidFill>
              </a:rPr>
              <a:t>On Platform</a:t>
            </a:r>
            <a:r>
              <a:rPr lang="el-GR" sz="1600" b="1" dirty="0">
                <a:solidFill>
                  <a:schemeClr val="bg1"/>
                </a:solidFill>
              </a:rPr>
              <a:t>, </a:t>
            </a:r>
            <a:r>
              <a:rPr lang="el-GR" sz="1600" b="1">
                <a:solidFill>
                  <a:schemeClr val="bg1"/>
                </a:solidFill>
              </a:rPr>
              <a:t>με άμεση </a:t>
            </a:r>
            <a:r>
              <a:rPr lang="el-GR" sz="1600" b="1" dirty="0">
                <a:solidFill>
                  <a:schemeClr val="bg1"/>
                </a:solidFill>
              </a:rPr>
              <a:t>εκκαθάριση</a:t>
            </a:r>
            <a:endParaRPr lang="en-US" sz="1600" b="1" dirty="0">
              <a:solidFill>
                <a:schemeClr val="bg1"/>
              </a:solidFill>
            </a:endParaRPr>
          </a:p>
          <a:p>
            <a:pPr marL="342900" indent="-342900">
              <a:buFontTx/>
              <a:buChar char="-"/>
            </a:pPr>
            <a:r>
              <a:rPr lang="el-GR" sz="1600" b="1" dirty="0">
                <a:solidFill>
                  <a:schemeClr val="bg1"/>
                </a:solidFill>
              </a:rPr>
              <a:t>Υποστήριξη </a:t>
            </a:r>
            <a:r>
              <a:rPr lang="en-US" sz="1600" b="1" dirty="0">
                <a:solidFill>
                  <a:schemeClr val="bg1"/>
                </a:solidFill>
              </a:rPr>
              <a:t>Prudential</a:t>
            </a:r>
            <a:r>
              <a:rPr lang="el-GR" sz="1600" b="1" dirty="0">
                <a:solidFill>
                  <a:schemeClr val="bg1"/>
                </a:solidFill>
              </a:rPr>
              <a:t> σε όλα τα στάδια</a:t>
            </a:r>
          </a:p>
          <a:p>
            <a:pPr marL="800100" lvl="1" indent="-342900">
              <a:buFontTx/>
              <a:buChar char="-"/>
            </a:pPr>
            <a:r>
              <a:rPr lang="el-GR" sz="1600" b="1" dirty="0">
                <a:solidFill>
                  <a:schemeClr val="bg1"/>
                </a:solidFill>
              </a:rPr>
              <a:t>Άμεση επικοινωνία, κινητό/</a:t>
            </a:r>
            <a:r>
              <a:rPr lang="en-US" sz="1600" b="1" dirty="0">
                <a:solidFill>
                  <a:schemeClr val="bg1"/>
                </a:solidFill>
              </a:rPr>
              <a:t>email/</a:t>
            </a:r>
            <a:r>
              <a:rPr lang="el-GR" sz="1600" b="1" dirty="0">
                <a:solidFill>
                  <a:schemeClr val="bg1"/>
                </a:solidFill>
              </a:rPr>
              <a:t>σταθερό</a:t>
            </a:r>
          </a:p>
          <a:p>
            <a:pPr marL="800100" lvl="1" indent="-342900">
              <a:buFontTx/>
              <a:buChar char="-"/>
            </a:pPr>
            <a:r>
              <a:rPr lang="el-GR" sz="1600" b="1" dirty="0">
                <a:solidFill>
                  <a:schemeClr val="bg1"/>
                </a:solidFill>
              </a:rPr>
              <a:t>Τακτική παρουσία στα κτίρια σας και</a:t>
            </a:r>
          </a:p>
          <a:p>
            <a:pPr marL="800100" lvl="1" indent="-342900">
              <a:buFontTx/>
              <a:buChar char="-"/>
            </a:pPr>
            <a:r>
              <a:rPr lang="el-GR" sz="1600" b="1" dirty="0">
                <a:solidFill>
                  <a:schemeClr val="bg1"/>
                </a:solidFill>
              </a:rPr>
              <a:t>Συμπλήρωση από τη μεριά μας των αποζημιώσεων</a:t>
            </a:r>
          </a:p>
        </p:txBody>
      </p:sp>
      <p:pic>
        <p:nvPicPr>
          <p:cNvPr id="10" name="Εικόνα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643" y="6141585"/>
            <a:ext cx="2370152" cy="558028"/>
          </a:xfrm>
          <a:prstGeom prst="rect">
            <a:avLst/>
          </a:prstGeom>
        </p:spPr>
      </p:pic>
      <p:pic>
        <p:nvPicPr>
          <p:cNvPr id="5" name="Εικόνα 4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46BC6B02-BE93-9D8A-23FF-9B2FDA00B9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6518" y="6047249"/>
            <a:ext cx="1408424" cy="793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626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90900AB-0359-4351-9259-571190C0E0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814"/>
          <a:stretch/>
        </p:blipFill>
        <p:spPr>
          <a:xfrm>
            <a:off x="-110849" y="-318"/>
            <a:ext cx="12472535" cy="6858000"/>
          </a:xfrm>
          <a:prstGeom prst="rect">
            <a:avLst/>
          </a:prstGeom>
        </p:spPr>
      </p:pic>
      <p:sp>
        <p:nvSpPr>
          <p:cNvPr id="6" name="Segnaposto numero diapositiva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A97B70C-217B-4AB3-B85F-B1D00ADCB6AF}" type="slidenum">
              <a:rPr kumimoji="0" lang="it-IT" altLang="el-GR" sz="700" b="0" i="0" u="none" strike="noStrike" kern="1200" cap="none" spc="0" normalizeH="0" baseline="0" noProof="0">
                <a:ln>
                  <a:noFill/>
                </a:ln>
                <a:solidFill>
                  <a:srgbClr val="C21B17"/>
                </a:solidFill>
                <a:effectLst/>
                <a:uLnTx/>
                <a:uFillTx/>
                <a:latin typeface="Arial" pitchFamily="34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altLang="el-GR" sz="700" b="0" i="0" u="none" strike="noStrike" kern="1200" cap="none" spc="0" normalizeH="0" baseline="0" noProof="0">
              <a:ln>
                <a:noFill/>
              </a:ln>
              <a:solidFill>
                <a:srgbClr val="C21B17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31429" name="Text Box 5"/>
          <p:cNvSpPr txBox="1">
            <a:spLocks noChangeArrowheads="1"/>
          </p:cNvSpPr>
          <p:nvPr/>
        </p:nvSpPr>
        <p:spPr bwMode="auto">
          <a:xfrm>
            <a:off x="1868489" y="273050"/>
            <a:ext cx="2224087" cy="11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0" marR="0" lvl="0" indent="0" algn="l" defTabSz="457200" rtl="0" eaLnBrk="1" fontAlgn="base" latinLnBrk="0" hangingPunct="1">
              <a:lnSpc>
                <a:spcPts val="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it-IT" altLang="el-GR" sz="700" b="0" i="0" u="none" strike="noStrike" kern="1200" cap="none" spc="0" normalizeH="0" baseline="0" noProof="0" dirty="0">
              <a:ln>
                <a:noFill/>
              </a:ln>
              <a:solidFill>
                <a:srgbClr val="C21B17"/>
              </a:solidFill>
              <a:effectLst/>
              <a:uLnTx/>
              <a:uFillTx/>
              <a:latin typeface="Arial" pitchFamily="34" charset="0"/>
              <a:cs typeface="Arial Regular"/>
            </a:endParaRPr>
          </a:p>
        </p:txBody>
      </p:sp>
      <p:sp>
        <p:nvSpPr>
          <p:cNvPr id="19" name="Titolo 4">
            <a:extLst>
              <a:ext uri="{FF2B5EF4-FFF2-40B4-BE49-F238E27FC236}">
                <a16:creationId xmlns:a16="http://schemas.microsoft.com/office/drawing/2014/main" id="{2F6873F4-1A7D-457F-ACD6-50EE87EAA14F}"/>
              </a:ext>
            </a:extLst>
          </p:cNvPr>
          <p:cNvSpPr txBox="1">
            <a:spLocks/>
          </p:cNvSpPr>
          <p:nvPr/>
        </p:nvSpPr>
        <p:spPr>
          <a:xfrm>
            <a:off x="381727" y="723053"/>
            <a:ext cx="6454502" cy="353113"/>
          </a:xfrm>
          <a:prstGeom prst="rect">
            <a:avLst/>
          </a:prstGeom>
        </p:spPr>
        <p:txBody>
          <a:bodyPr/>
          <a:lstStyle>
            <a:lvl1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21B17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2pPr>
            <a:lvl3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3pPr>
            <a:lvl4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4pPr>
            <a:lvl5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5pPr>
            <a:lvl6pPr marL="4572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6pPr>
            <a:lvl7pPr marL="9144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7pPr>
            <a:lvl8pPr marL="13716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8pPr>
            <a:lvl9pPr marL="18288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l-GR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ea typeface="Arial Regular"/>
                <a:cs typeface="Arial" pitchFamily="34" charset="0"/>
              </a:rPr>
              <a:t>Η Ασφάλιση Ζωής &amp; Υγείας Σήμερα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Arial Regular"/>
                <a:cs typeface="Arial" pitchFamily="34" charset="0"/>
              </a:rPr>
              <a:t>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j-ea"/>
                <a:cs typeface="Arial" pitchFamily="34" charset="0"/>
              </a:rPr>
              <a:t> </a:t>
            </a:r>
            <a:endParaRPr kumimoji="0" lang="en-US" sz="2400" b="0" i="0" u="none" strike="sng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Arial Regular"/>
              <a:cs typeface="+mn-cs"/>
            </a:endParaRP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D3778F35-B489-4458-AB67-EDC8DCCE7CAC}"/>
              </a:ext>
            </a:extLst>
          </p:cNvPr>
          <p:cNvSpPr txBox="1">
            <a:spLocks noChangeArrowheads="1"/>
          </p:cNvSpPr>
          <p:nvPr/>
        </p:nvSpPr>
        <p:spPr>
          <a:xfrm>
            <a:off x="351077" y="269782"/>
            <a:ext cx="4387071" cy="39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C21B17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2pPr>
            <a:lvl3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3pPr>
            <a:lvl4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4pPr>
            <a:lvl5pPr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5pPr>
            <a:lvl6pPr marL="4572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6pPr>
            <a:lvl7pPr marL="9144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7pPr>
            <a:lvl8pPr marL="13716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8pPr>
            <a:lvl9pPr marL="1828800" algn="l" defTabSz="457200" rtl="0" fontAlgn="base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rgbClr val="C21B17"/>
                </a:solidFill>
                <a:latin typeface="Arial" pitchFamily="34" charset="0"/>
                <a:ea typeface="Arial Italic"/>
                <a:cs typeface="Arial Italic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itchFamily="2" charset="2"/>
              <a:buNone/>
              <a:tabLst/>
              <a:defRPr/>
            </a:pPr>
            <a:r>
              <a:rPr lang="el-GR" sz="2800" dirty="0">
                <a:solidFill>
                  <a:srgbClr val="C00000"/>
                </a:solidFill>
                <a:latin typeface="Arial Regular"/>
                <a:ea typeface="Arial Italic"/>
              </a:rPr>
              <a:t>Ομαδικές Ασφαλίσεις</a:t>
            </a:r>
            <a:b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Regular"/>
                <a:ea typeface="Arial Italic"/>
                <a:cs typeface="Arial Italic"/>
              </a:rPr>
            </a:br>
            <a:endParaRPr kumimoji="0" lang="it-IT" sz="15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Regular"/>
              <a:ea typeface="Arial Italic"/>
              <a:cs typeface="Arial Italic"/>
            </a:endParaRPr>
          </a:p>
        </p:txBody>
      </p:sp>
      <p:pic>
        <p:nvPicPr>
          <p:cNvPr id="25" name="Picture 11">
            <a:extLst>
              <a:ext uri="{FF2B5EF4-FFF2-40B4-BE49-F238E27FC236}">
                <a16:creationId xmlns:a16="http://schemas.microsoft.com/office/drawing/2014/main" id="{4761A96C-9B51-47AF-B220-046817FF4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0095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1EF0663-7558-43E8-A164-88F8530253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81519" y="6019226"/>
            <a:ext cx="810481" cy="810481"/>
          </a:xfrm>
          <a:prstGeom prst="rect">
            <a:avLst/>
          </a:prstGeom>
        </p:spPr>
      </p:pic>
      <p:grpSp>
        <p:nvGrpSpPr>
          <p:cNvPr id="67" name="Group 10">
            <a:extLst>
              <a:ext uri="{FF2B5EF4-FFF2-40B4-BE49-F238E27FC236}">
                <a16:creationId xmlns:a16="http://schemas.microsoft.com/office/drawing/2014/main" id="{59A07845-98D4-4AAA-9C44-0D2978E669F2}"/>
              </a:ext>
            </a:extLst>
          </p:cNvPr>
          <p:cNvGrpSpPr>
            <a:grpSpLocks/>
          </p:cNvGrpSpPr>
          <p:nvPr/>
        </p:nvGrpSpPr>
        <p:grpSpPr bwMode="auto">
          <a:xfrm>
            <a:off x="2969491" y="1745410"/>
            <a:ext cx="6478677" cy="4319163"/>
            <a:chOff x="3757" y="3563"/>
            <a:chExt cx="5004" cy="3085"/>
          </a:xfrm>
          <a:solidFill>
            <a:schemeClr val="tx2"/>
          </a:solidFill>
        </p:grpSpPr>
        <p:sp>
          <p:nvSpPr>
            <p:cNvPr id="70" name="Pyr1">
              <a:extLst>
                <a:ext uri="{FF2B5EF4-FFF2-40B4-BE49-F238E27FC236}">
                  <a16:creationId xmlns:a16="http://schemas.microsoft.com/office/drawing/2014/main" id="{E39732BF-ECD1-4885-8AFB-AB5A6CFDBC0B}"/>
                </a:ext>
              </a:extLst>
            </p:cNvPr>
            <p:cNvSpPr>
              <a:spLocks noEditPoints="1" noChangeArrowheads="1"/>
            </p:cNvSpPr>
            <p:nvPr/>
          </p:nvSpPr>
          <p:spPr bwMode="auto">
            <a:xfrm>
              <a:off x="5484" y="3563"/>
              <a:ext cx="1545" cy="928"/>
            </a:xfrm>
            <a:custGeom>
              <a:avLst/>
              <a:gdLst>
                <a:gd name="T0" fmla="*/ 1080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  <a:gd name="T6" fmla="*/ 5400 w 21600"/>
                <a:gd name="T7" fmla="*/ 11800 h 21600"/>
                <a:gd name="T8" fmla="*/ 16200 w 21600"/>
                <a:gd name="T9" fmla="*/ 20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anchor="b" anchorCtr="1"/>
            <a:lstStyle/>
            <a:p>
              <a:pPr algn="ctr" defTabSz="914400" eaLnBrk="0" hangingPunct="0">
                <a:defRPr/>
              </a:pPr>
              <a:r>
                <a:rPr lang="el-GR" sz="1200" b="1" kern="0" dirty="0">
                  <a:solidFill>
                    <a:prstClr val="white"/>
                  </a:solidFill>
                  <a:cs typeface="Arial" panose="020B0604020202020204" pitchFamily="34" charset="0"/>
                </a:rPr>
                <a:t>ΑΤΟΜΙΚΗ ΑΣΦΑΛΙΣΗ</a:t>
              </a:r>
              <a:endParaRPr lang="en-US" sz="1200" b="1" kern="0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2" name="Pyr2">
              <a:extLst>
                <a:ext uri="{FF2B5EF4-FFF2-40B4-BE49-F238E27FC236}">
                  <a16:creationId xmlns:a16="http://schemas.microsoft.com/office/drawing/2014/main" id="{F37A2B25-D8AE-447A-949C-F7B77713D621}"/>
                </a:ext>
              </a:extLst>
            </p:cNvPr>
            <p:cNvSpPr>
              <a:spLocks noEditPoints="1" noChangeArrowheads="1"/>
            </p:cNvSpPr>
            <p:nvPr/>
          </p:nvSpPr>
          <p:spPr bwMode="auto">
            <a:xfrm>
              <a:off x="4606" y="4481"/>
              <a:ext cx="3294" cy="1089"/>
            </a:xfrm>
            <a:custGeom>
              <a:avLst/>
              <a:gdLst>
                <a:gd name="T0" fmla="*/ 116 w 21600"/>
                <a:gd name="T1" fmla="*/ 0 h 21600"/>
                <a:gd name="T2" fmla="*/ 316 w 21600"/>
                <a:gd name="T3" fmla="*/ 0 h 21600"/>
                <a:gd name="T4" fmla="*/ 432 w 21600"/>
                <a:gd name="T5" fmla="*/ 55 h 21600"/>
                <a:gd name="T6" fmla="*/ 0 w 21600"/>
                <a:gd name="T7" fmla="*/ 55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5784 w 21600"/>
                <a:gd name="T13" fmla="*/ 496 h 21600"/>
                <a:gd name="T14" fmla="*/ 15809 w 21600"/>
                <a:gd name="T15" fmla="*/ 21104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787" y="0"/>
                  </a:moveTo>
                  <a:lnTo>
                    <a:pt x="15812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5787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400">
                <a:defRPr/>
              </a:pPr>
              <a:endParaRPr lang="el-GR" sz="1800" kern="0" dirty="0">
                <a:solidFill>
                  <a:srgbClr val="007DC3"/>
                </a:solidFill>
                <a:latin typeface="Calibri"/>
              </a:endParaRPr>
            </a:p>
          </p:txBody>
        </p:sp>
        <p:sp>
          <p:nvSpPr>
            <p:cNvPr id="73" name="Pyr3">
              <a:extLst>
                <a:ext uri="{FF2B5EF4-FFF2-40B4-BE49-F238E27FC236}">
                  <a16:creationId xmlns:a16="http://schemas.microsoft.com/office/drawing/2014/main" id="{AC6818A8-1DAA-4788-A140-4020AE9B89DE}"/>
                </a:ext>
              </a:extLst>
            </p:cNvPr>
            <p:cNvSpPr>
              <a:spLocks noEditPoints="1" noChangeArrowheads="1"/>
            </p:cNvSpPr>
            <p:nvPr/>
          </p:nvSpPr>
          <p:spPr bwMode="auto">
            <a:xfrm>
              <a:off x="3757" y="5561"/>
              <a:ext cx="5004" cy="1087"/>
            </a:xfrm>
            <a:custGeom>
              <a:avLst/>
              <a:gdLst>
                <a:gd name="T0" fmla="*/ 177 w 21600"/>
                <a:gd name="T1" fmla="*/ 0 h 21600"/>
                <a:gd name="T2" fmla="*/ 837 w 21600"/>
                <a:gd name="T3" fmla="*/ 0 h 21600"/>
                <a:gd name="T4" fmla="*/ 1014 w 21600"/>
                <a:gd name="T5" fmla="*/ 55 h 21600"/>
                <a:gd name="T6" fmla="*/ 0 w 21600"/>
                <a:gd name="T7" fmla="*/ 55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5286 w 21600"/>
                <a:gd name="T13" fmla="*/ 497 h 21600"/>
                <a:gd name="T14" fmla="*/ 16314 w 21600"/>
                <a:gd name="T15" fmla="*/ 2110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3768" y="0"/>
                  </a:moveTo>
                  <a:lnTo>
                    <a:pt x="17831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3768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defTabSz="914400">
                <a:defRPr/>
              </a:pPr>
              <a:endParaRPr lang="el-GR" sz="1800" kern="0" dirty="0">
                <a:solidFill>
                  <a:srgbClr val="007DC3"/>
                </a:solidFill>
                <a:latin typeface="Calibri"/>
              </a:endParaRPr>
            </a:p>
          </p:txBody>
        </p:sp>
        <p:sp>
          <p:nvSpPr>
            <p:cNvPr id="74" name="Text Box 14">
              <a:extLst>
                <a:ext uri="{FF2B5EF4-FFF2-40B4-BE49-F238E27FC236}">
                  <a16:creationId xmlns:a16="http://schemas.microsoft.com/office/drawing/2014/main" id="{08FF1F17-FF80-4529-AAED-F5ED6743E1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22" y="4879"/>
              <a:ext cx="1756" cy="29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defTabSz="914400">
                <a:defRPr/>
              </a:pPr>
              <a:r>
                <a:rPr lang="el-GR" sz="1600" b="1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ΟΜΑΔΙΚΗ ΑΣΦΑΛΙΣΗ</a:t>
              </a:r>
              <a:endPara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Text Box 14">
            <a:extLst>
              <a:ext uri="{FF2B5EF4-FFF2-40B4-BE49-F238E27FC236}">
                <a16:creationId xmlns:a16="http://schemas.microsoft.com/office/drawing/2014/main" id="{B48A3094-9DB8-40F8-8781-ED1156D1F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1728" y="4989350"/>
            <a:ext cx="3108544" cy="3890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914400">
              <a:defRPr/>
            </a:pPr>
            <a:r>
              <a:rPr lang="el-GR" sz="1600" b="1" kern="0" dirty="0">
                <a:solidFill>
                  <a:srgbClr val="FFFFFF"/>
                </a:solidFill>
                <a:latin typeface="Arial" panose="020B0604020202020204" pitchFamily="34" charset="0"/>
              </a:rPr>
              <a:t>ΚΥΡΙΟΣ ΦΟΡΕΑΣ ΑΣΦΑΛΙΣΗΣ</a:t>
            </a:r>
            <a:endParaRPr lang="en-US" sz="1600" b="1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B44A21-3730-4937-83BA-08C8D5EF0654}"/>
              </a:ext>
            </a:extLst>
          </p:cNvPr>
          <p:cNvSpPr txBox="1"/>
          <p:nvPr/>
        </p:nvSpPr>
        <p:spPr>
          <a:xfrm>
            <a:off x="8901100" y="4964403"/>
            <a:ext cx="3108544" cy="400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Στοιχειώδεις ανάγκες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C1DF39F-E775-4D27-AF36-B246EAFB9236}"/>
              </a:ext>
            </a:extLst>
          </p:cNvPr>
          <p:cNvSpPr txBox="1"/>
          <p:nvPr/>
        </p:nvSpPr>
        <p:spPr>
          <a:xfrm>
            <a:off x="7930315" y="3605681"/>
            <a:ext cx="3728429" cy="400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Βασικές ανάγκες των πολλών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C8855EE-C14F-4E49-B753-767502F8D5B4}"/>
              </a:ext>
            </a:extLst>
          </p:cNvPr>
          <p:cNvSpPr txBox="1"/>
          <p:nvPr/>
        </p:nvSpPr>
        <p:spPr>
          <a:xfrm>
            <a:off x="7119774" y="2332171"/>
            <a:ext cx="3263618" cy="400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Εξατομικευμένες ανάγκες</a:t>
            </a:r>
          </a:p>
        </p:txBody>
      </p:sp>
      <p:pic>
        <p:nvPicPr>
          <p:cNvPr id="18" name="Εικόνα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156" y="6207246"/>
            <a:ext cx="2370152" cy="558028"/>
          </a:xfrm>
          <a:prstGeom prst="rect">
            <a:avLst/>
          </a:prstGeom>
        </p:spPr>
      </p:pic>
      <p:pic>
        <p:nvPicPr>
          <p:cNvPr id="4" name="Εικόνα 3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5BF9B318-4977-5EED-5C3B-6E852426F9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9189" y="6132040"/>
            <a:ext cx="1214652" cy="68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827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53F698B-8AF8-43C8-A27A-FD8FC7A6C7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08" t="6720" r="-1" b="13061"/>
          <a:stretch/>
        </p:blipFill>
        <p:spPr>
          <a:xfrm>
            <a:off x="264762" y="0"/>
            <a:ext cx="11927238" cy="6849432"/>
          </a:xfrm>
          <a:prstGeom prst="rect">
            <a:avLst/>
          </a:prstGeom>
        </p:spPr>
      </p:pic>
      <p:pic>
        <p:nvPicPr>
          <p:cNvPr id="8" name="Immagin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8169" y="6005704"/>
            <a:ext cx="775748" cy="626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7">
            <a:extLst>
              <a:ext uri="{FF2B5EF4-FFF2-40B4-BE49-F238E27FC236}">
                <a16:creationId xmlns:a16="http://schemas.microsoft.com/office/drawing/2014/main" id="{D2D20EE5-907E-4C67-938B-A5C5ED1455B7}"/>
              </a:ext>
            </a:extLst>
          </p:cNvPr>
          <p:cNvSpPr/>
          <p:nvPr/>
        </p:nvSpPr>
        <p:spPr>
          <a:xfrm>
            <a:off x="250162" y="1676540"/>
            <a:ext cx="6968970" cy="639908"/>
          </a:xfrm>
          <a:prstGeom prst="rect">
            <a:avLst/>
          </a:prstGeom>
          <a:solidFill>
            <a:srgbClr val="E0402F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contourClr>
              <a:schemeClr val="accent1">
                <a:shade val="70000"/>
                <a:satMod val="105000"/>
              </a:schemeClr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>
              <a:lnSpc>
                <a:spcPct val="100000"/>
              </a:lnSpc>
              <a:buClrTx/>
            </a:pPr>
            <a:r>
              <a:rPr lang="en-US" sz="4000" dirty="0">
                <a:solidFill>
                  <a:prstClr val="white"/>
                </a:solidFill>
                <a:latin typeface="Arial Regular"/>
              </a:rPr>
              <a:t> </a:t>
            </a:r>
            <a:r>
              <a:rPr lang="el-GR" sz="4000" dirty="0">
                <a:solidFill>
                  <a:prstClr val="white"/>
                </a:solidFill>
                <a:latin typeface="Arial Regular"/>
              </a:rPr>
              <a:t>Πρόγραμμα Ασφάλισης</a:t>
            </a:r>
            <a:endParaRPr lang="en-US" sz="4000" dirty="0">
              <a:solidFill>
                <a:prstClr val="white"/>
              </a:solidFill>
              <a:latin typeface="Arial Regular"/>
            </a:endParaRP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98E32733-EA39-4461-9E1F-C95E25D58E51}"/>
              </a:ext>
            </a:extLst>
          </p:cNvPr>
          <p:cNvSpPr/>
          <p:nvPr/>
        </p:nvSpPr>
        <p:spPr>
          <a:xfrm>
            <a:off x="250162" y="799998"/>
            <a:ext cx="9552206" cy="763094"/>
          </a:xfrm>
          <a:prstGeom prst="rect">
            <a:avLst/>
          </a:prstGeom>
          <a:solidFill>
            <a:srgbClr val="7A1224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contourClr>
              <a:schemeClr val="accent1">
                <a:shade val="70000"/>
                <a:satMod val="105000"/>
              </a:schemeClr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>
              <a:lnSpc>
                <a:spcPct val="100000"/>
              </a:lnSpc>
              <a:buClrTx/>
            </a:pPr>
            <a:r>
              <a:rPr lang="el-GR" sz="3600" dirty="0">
                <a:solidFill>
                  <a:prstClr val="white"/>
                </a:solidFill>
                <a:latin typeface="Arial Regular"/>
              </a:rPr>
              <a:t>Ομαδικές Ασφαλίσεις </a:t>
            </a:r>
            <a:r>
              <a:rPr lang="en-US" sz="3600" dirty="0">
                <a:solidFill>
                  <a:prstClr val="white"/>
                </a:solidFill>
                <a:latin typeface="Arial Regular"/>
              </a:rPr>
              <a:t>Generali</a:t>
            </a:r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3684E767-E7C1-4FF6-B20E-F391C08B0478}"/>
              </a:ext>
            </a:extLst>
          </p:cNvPr>
          <p:cNvSpPr txBox="1"/>
          <p:nvPr/>
        </p:nvSpPr>
        <p:spPr>
          <a:xfrm>
            <a:off x="6703858" y="1503668"/>
            <a:ext cx="3360000" cy="96000"/>
          </a:xfrm>
          <a:prstGeom prst="rect">
            <a:avLst/>
          </a:prstGeom>
          <a:solidFill>
            <a:srgbClr val="8D1D32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marL="16933" algn="ctr" defTabSz="1219170">
              <a:lnSpc>
                <a:spcPct val="100000"/>
              </a:lnSpc>
              <a:buClrTx/>
            </a:pPr>
            <a:endParaRPr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7" name="Εικόνα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731" y="6039759"/>
            <a:ext cx="2370152" cy="558028"/>
          </a:xfrm>
          <a:prstGeom prst="rect">
            <a:avLst/>
          </a:prstGeom>
        </p:spPr>
      </p:pic>
      <p:pic>
        <p:nvPicPr>
          <p:cNvPr id="3" name="Εικόνα 2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F32863D8-8010-8DA4-39B4-951069D7E5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853" y="6005704"/>
            <a:ext cx="1258592" cy="709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725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reading a book&#10;&#10;Description generated with high confidence">
            <a:extLst>
              <a:ext uri="{FF2B5EF4-FFF2-40B4-BE49-F238E27FC236}">
                <a16:creationId xmlns:a16="http://schemas.microsoft.com/office/drawing/2014/main" id="{4865A2C6-BACF-4378-A4AB-E8472F6595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r="2418" b="19954"/>
          <a:stretch/>
        </p:blipFill>
        <p:spPr>
          <a:xfrm>
            <a:off x="1" y="-158387"/>
            <a:ext cx="12192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00988" y="18457"/>
            <a:ext cx="6200296" cy="523220"/>
          </a:xfrm>
          <a:prstGeom prst="rect">
            <a:avLst/>
          </a:prstGeom>
          <a:solidFill>
            <a:schemeClr val="bg1">
              <a:alpha val="52000"/>
            </a:schemeClr>
          </a:solidFill>
        </p:spPr>
        <p:txBody>
          <a:bodyPr wrap="square">
            <a:spAutoFit/>
          </a:bodyPr>
          <a:lstStyle/>
          <a:p>
            <a:pPr marL="0" lvl="1">
              <a:lnSpc>
                <a:spcPct val="100000"/>
              </a:lnSpc>
              <a:buClr>
                <a:srgbClr val="C21B17"/>
              </a:buClr>
              <a:buSzPct val="100000"/>
              <a:tabLst>
                <a:tab pos="571500" algn="l"/>
              </a:tabLst>
              <a:defRPr/>
            </a:pPr>
            <a:r>
              <a:rPr lang="el-GR" sz="2800" dirty="0">
                <a:solidFill>
                  <a:srgbClr val="C00000"/>
                </a:solidFill>
                <a:latin typeface="Arial Regular"/>
                <a:ea typeface="+mj-ea"/>
                <a:cs typeface="+mj-cs"/>
              </a:rPr>
              <a:t>Προγράμματα Ομαδικής Ασφάλισης  </a:t>
            </a:r>
            <a:endParaRPr lang="en-US" sz="2800" dirty="0">
              <a:solidFill>
                <a:srgbClr val="C00000"/>
              </a:solidFill>
              <a:latin typeface="Arial Regular"/>
              <a:ea typeface="+mj-ea"/>
              <a:cs typeface="+mj-cs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A68CE395-1C43-4B7C-91F6-996ED49E24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0047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1B24539-E002-4A71-B4C3-150CF30C8FAF}"/>
              </a:ext>
            </a:extLst>
          </p:cNvPr>
          <p:cNvSpPr txBox="1"/>
          <p:nvPr/>
        </p:nvSpPr>
        <p:spPr>
          <a:xfrm>
            <a:off x="300988" y="577934"/>
            <a:ext cx="2657009" cy="461665"/>
          </a:xfrm>
          <a:prstGeom prst="rect">
            <a:avLst/>
          </a:prstGeom>
          <a:solidFill>
            <a:schemeClr val="bg1">
              <a:alpha val="52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l-GR" sz="2400" dirty="0">
                <a:solidFill>
                  <a:srgbClr val="0070C0"/>
                </a:solidFill>
              </a:rPr>
              <a:t>Πίνακας Παροχών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98AD945-3813-4C0E-AA3C-39EFDE20F7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12862" y="5827110"/>
            <a:ext cx="810481" cy="810481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E07C10B-CA75-4AEB-8F6C-DE4455D1EE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182743"/>
              </p:ext>
            </p:extLst>
          </p:nvPr>
        </p:nvGraphicFramePr>
        <p:xfrm>
          <a:off x="1533160" y="2596231"/>
          <a:ext cx="9125680" cy="1348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2245">
                  <a:extLst>
                    <a:ext uri="{9D8B030D-6E8A-4147-A177-3AD203B41FA5}">
                      <a16:colId xmlns:a16="http://schemas.microsoft.com/office/drawing/2014/main" val="516588969"/>
                    </a:ext>
                  </a:extLst>
                </a:gridCol>
                <a:gridCol w="3743435">
                  <a:extLst>
                    <a:ext uri="{9D8B030D-6E8A-4147-A177-3AD203B41FA5}">
                      <a16:colId xmlns:a16="http://schemas.microsoft.com/office/drawing/2014/main" val="44410023"/>
                    </a:ext>
                  </a:extLst>
                </a:gridCol>
              </a:tblGrid>
              <a:tr h="674382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effectLst/>
                          <a:latin typeface="Arial Regular"/>
                        </a:rPr>
                        <a:t>Παροχές Ζωή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600" dirty="0">
                          <a:effectLst/>
                          <a:latin typeface="Arial Regular"/>
                        </a:rPr>
                        <a:t>Κεφάλαια κάλυψη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19030072"/>
                  </a:ext>
                </a:extLst>
              </a:tr>
              <a:tr h="6743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σφάλεια Ζωή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000 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€</a:t>
                      </a:r>
                      <a:endParaRPr lang="el-GR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16858741"/>
                  </a:ext>
                </a:extLst>
              </a:tr>
            </a:tbl>
          </a:graphicData>
        </a:graphic>
      </p:graphicFrame>
      <p:pic>
        <p:nvPicPr>
          <p:cNvPr id="8" name="Εικόνα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4052" y="5981783"/>
            <a:ext cx="2370152" cy="558028"/>
          </a:xfrm>
          <a:prstGeom prst="rect">
            <a:avLst/>
          </a:prstGeom>
        </p:spPr>
      </p:pic>
      <p:pic>
        <p:nvPicPr>
          <p:cNvPr id="2" name="Εικόνα 1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F1FF6E37-814B-94C6-AD81-6F5923D4B4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0185" y="5949496"/>
            <a:ext cx="1105209" cy="622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342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reading a book&#10;&#10;Description generated with high confidence">
            <a:extLst>
              <a:ext uri="{FF2B5EF4-FFF2-40B4-BE49-F238E27FC236}">
                <a16:creationId xmlns:a16="http://schemas.microsoft.com/office/drawing/2014/main" id="{4865A2C6-BACF-4378-A4AB-E8472F6595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r="2418" b="1995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187511143"/>
              </p:ext>
            </p:extLst>
          </p:nvPr>
        </p:nvGraphicFramePr>
        <p:xfrm>
          <a:off x="1124190" y="1075856"/>
          <a:ext cx="9805598" cy="51404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929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2631">
                  <a:extLst>
                    <a:ext uri="{9D8B030D-6E8A-4147-A177-3AD203B41FA5}">
                      <a16:colId xmlns:a16="http://schemas.microsoft.com/office/drawing/2014/main" val="4158632373"/>
                    </a:ext>
                  </a:extLst>
                </a:gridCol>
              </a:tblGrid>
              <a:tr h="378040">
                <a:tc gridSpan="2"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effectLst/>
                          <a:latin typeface="Arial Regular"/>
                        </a:rPr>
                        <a:t>Παροχές Υγεία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el-GR" sz="160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085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l-GR" sz="1600" b="1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</a:rPr>
                        <a:t> Νοσοκομειακή Περίθαλψη</a:t>
                      </a:r>
                      <a:endParaRPr kumimoji="0" lang="el-GR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Ανώτατο Ποσό Παροχής κατ’ άτομο κατ’ έτος </a:t>
                      </a:r>
                      <a:endParaRPr kumimoji="0" lang="el-G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l-GR" sz="1400" b="0" dirty="0">
                        <a:effectLst/>
                      </a:endParaRPr>
                    </a:p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l-GR" sz="1400" b="0" dirty="0">
                          <a:effectLst/>
                        </a:rPr>
                        <a:t>20</a:t>
                      </a:r>
                      <a:r>
                        <a:rPr lang="en-US" sz="1400" b="0" dirty="0">
                          <a:effectLst/>
                        </a:rPr>
                        <a:t>.000</a:t>
                      </a:r>
                      <a:r>
                        <a:rPr lang="el-GR" sz="1400" b="0" dirty="0">
                          <a:effectLst/>
                        </a:rPr>
                        <a:t> </a:t>
                      </a:r>
                      <a:r>
                        <a:rPr lang="en-US" sz="1400" b="0" dirty="0">
                          <a:effectLst/>
                        </a:rPr>
                        <a:t>€</a:t>
                      </a:r>
                      <a:endParaRPr lang="el-GR" sz="1400" b="0" dirty="0">
                        <a:effectLst/>
                      </a:endParaRPr>
                    </a:p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l-GR" sz="1400" b="0" dirty="0"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76115839"/>
                  </a:ext>
                </a:extLst>
              </a:tr>
              <a:tr h="369247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Όριο δωμάτιο</a:t>
                      </a:r>
                      <a:r>
                        <a:rPr kumimoji="0" 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/</a:t>
                      </a: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τροφή</a:t>
                      </a:r>
                      <a:r>
                        <a:rPr kumimoji="0" 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 </a:t>
                      </a: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ημερησίως</a:t>
                      </a:r>
                      <a:r>
                        <a:rPr kumimoji="0" 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 </a:t>
                      </a: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στην Ελλάδα έως</a:t>
                      </a:r>
                      <a:endParaRPr kumimoji="0" lang="el-G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l-G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Β’ Θέση</a:t>
                      </a:r>
                      <a:endParaRPr kumimoji="0" lang="el-G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9247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l-GR" sz="1200" dirty="0"/>
                        <a:t>Ποσό συμμετοχής ασφαλισμένου ανά έτος και ανά άτομο: </a:t>
                      </a:r>
                      <a:endParaRPr kumimoji="0" lang="el-G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l-GR" sz="14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 €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3680053"/>
                  </a:ext>
                </a:extLst>
              </a:tr>
              <a:tr h="449633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Όριο δωμάτιο</a:t>
                      </a:r>
                      <a:r>
                        <a:rPr kumimoji="0" lang="en-US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/</a:t>
                      </a: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τροφή ημερησίως στο Εξωτερικό ή ΜΕΘ</a:t>
                      </a:r>
                      <a:endParaRPr kumimoji="0" lang="el-G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l-GR" sz="1400" b="0" dirty="0">
                          <a:effectLst/>
                        </a:rPr>
                        <a:t>Έως 600 € </a:t>
                      </a:r>
                      <a:endParaRPr kumimoji="0" lang="el-GR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231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l-GR" sz="1200" u="none" strike="noStrike" kern="1200" cap="none" normalizeH="0" baseline="0" dirty="0">
                          <a:ln>
                            <a:noFill/>
                          </a:ln>
                          <a:effectLst/>
                          <a:latin typeface="Arial Regular"/>
                        </a:rPr>
                        <a:t>Απόδοση εξόδων στα συμβεβλημένα κ μη Συμβεβλημένα  Νοσοκομεία</a:t>
                      </a:r>
                      <a:endParaRPr kumimoji="0" lang="el-GR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l-G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Αν άλλος φορέας καλύψει μέρος των εξόδων (τουλ. 20%), τότε 100% της διαφοράς, μέχρι το ανώτατο ποσό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l-GR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Διαφορετικά (μη χρήση άλλου φορέα) 80% - 2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37309270"/>
                  </a:ext>
                </a:extLst>
              </a:tr>
              <a:tr h="52313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l-GR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Προϋπάρχουσες και συγγενείς παθήσεις, κάλυψη μετά από 6 μήνε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0649965"/>
                  </a:ext>
                </a:extLst>
              </a:tr>
              <a:tr h="52313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l-GR" sz="1200" u="sng" dirty="0"/>
                        <a:t>Οι ασθένειες/παθήσεις που δεν ασφαλίζονται είναι: καρδιακές, υψηλή αρτηριακή πίεση μη ρυθμισμένη, πνευμονική ανεπάρκεια και αποφρακτικές νόσους, νεφρική ανεπάρκεια, διαβήτη, κατάχρηση οινοπνεύματος ή ναρκωτικών ουσιών, καρκίνο, οποιοδήποτε φυσικό ελάττωμα ή αναπηρία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l-GR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089343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00988" y="18457"/>
            <a:ext cx="6200296" cy="523220"/>
          </a:xfrm>
          <a:prstGeom prst="rect">
            <a:avLst/>
          </a:prstGeom>
          <a:solidFill>
            <a:schemeClr val="bg1">
              <a:alpha val="52000"/>
            </a:schemeClr>
          </a:solidFill>
        </p:spPr>
        <p:txBody>
          <a:bodyPr wrap="square">
            <a:spAutoFit/>
          </a:bodyPr>
          <a:lstStyle/>
          <a:p>
            <a:pPr marL="0" lvl="1">
              <a:lnSpc>
                <a:spcPct val="100000"/>
              </a:lnSpc>
              <a:buClr>
                <a:srgbClr val="C21B17"/>
              </a:buClr>
              <a:buSzPct val="100000"/>
              <a:tabLst>
                <a:tab pos="571500" algn="l"/>
              </a:tabLst>
              <a:defRPr/>
            </a:pPr>
            <a:r>
              <a:rPr lang="el-GR" sz="2800" dirty="0">
                <a:solidFill>
                  <a:srgbClr val="C00000"/>
                </a:solidFill>
                <a:latin typeface="Arial Regular"/>
                <a:ea typeface="+mj-ea"/>
                <a:cs typeface="+mj-cs"/>
              </a:rPr>
              <a:t>Προγράμματα Ομαδικής Ασφάλισης  </a:t>
            </a:r>
            <a:endParaRPr lang="en-US" sz="2800" dirty="0">
              <a:solidFill>
                <a:srgbClr val="C00000"/>
              </a:solidFill>
              <a:latin typeface="Arial Regular"/>
              <a:ea typeface="+mj-ea"/>
              <a:cs typeface="+mj-cs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A68CE395-1C43-4B7C-91F6-996ED49E24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0047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1B24539-E002-4A71-B4C3-150CF30C8FAF}"/>
              </a:ext>
            </a:extLst>
          </p:cNvPr>
          <p:cNvSpPr txBox="1"/>
          <p:nvPr/>
        </p:nvSpPr>
        <p:spPr>
          <a:xfrm>
            <a:off x="300988" y="577934"/>
            <a:ext cx="2657009" cy="461665"/>
          </a:xfrm>
          <a:prstGeom prst="rect">
            <a:avLst/>
          </a:prstGeom>
          <a:solidFill>
            <a:schemeClr val="bg1">
              <a:alpha val="52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l-GR" sz="2400" dirty="0">
                <a:solidFill>
                  <a:srgbClr val="0070C0"/>
                </a:solidFill>
              </a:rPr>
              <a:t>Πίνακας Παροχών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98AD945-3813-4C0E-AA3C-39EFDE20F7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05141" y="6189034"/>
            <a:ext cx="679013" cy="679013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6053" y="6353225"/>
            <a:ext cx="2111412" cy="497110"/>
          </a:xfrm>
          <a:prstGeom prst="rect">
            <a:avLst/>
          </a:prstGeom>
        </p:spPr>
      </p:pic>
      <p:pic>
        <p:nvPicPr>
          <p:cNvPr id="3" name="Εικόνα 2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D09EC5A1-AD9F-EF08-B3A0-B13D2F2E8C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2041" y="6321516"/>
            <a:ext cx="970174" cy="54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1604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erson reading a book&#10;&#10;Description generated with high confidence">
            <a:extLst>
              <a:ext uri="{FF2B5EF4-FFF2-40B4-BE49-F238E27FC236}">
                <a16:creationId xmlns:a16="http://schemas.microsoft.com/office/drawing/2014/main" id="{ED9C28C9-812E-47AE-BF13-5C134E876B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r="2418" b="19954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3F8E824-554A-46DB-9B66-B705C0A4C4F2}"/>
              </a:ext>
            </a:extLst>
          </p:cNvPr>
          <p:cNvSpPr txBox="1"/>
          <p:nvPr/>
        </p:nvSpPr>
        <p:spPr>
          <a:xfrm>
            <a:off x="300988" y="18457"/>
            <a:ext cx="6200296" cy="523220"/>
          </a:xfrm>
          <a:prstGeom prst="rect">
            <a:avLst/>
          </a:prstGeom>
          <a:solidFill>
            <a:schemeClr val="bg1">
              <a:alpha val="36000"/>
            </a:schemeClr>
          </a:solidFill>
        </p:spPr>
        <p:txBody>
          <a:bodyPr wrap="square">
            <a:spAutoFit/>
          </a:bodyPr>
          <a:lstStyle/>
          <a:p>
            <a:pPr marL="0" lvl="1">
              <a:lnSpc>
                <a:spcPct val="100000"/>
              </a:lnSpc>
              <a:buClr>
                <a:srgbClr val="C21B17"/>
              </a:buClr>
              <a:buSzPct val="100000"/>
              <a:tabLst>
                <a:tab pos="571500" algn="l"/>
              </a:tabLst>
              <a:defRPr/>
            </a:pPr>
            <a:r>
              <a:rPr lang="el-GR" sz="2800" dirty="0">
                <a:solidFill>
                  <a:srgbClr val="C00000"/>
                </a:solidFill>
                <a:latin typeface="Arial Regular"/>
                <a:ea typeface="+mj-ea"/>
                <a:cs typeface="+mj-cs"/>
              </a:rPr>
              <a:t>Προγράμματα Ομαδικής Ασφάλισης  </a:t>
            </a:r>
            <a:endParaRPr lang="en-US" sz="2800" dirty="0">
              <a:solidFill>
                <a:srgbClr val="C00000"/>
              </a:solidFill>
              <a:latin typeface="Arial Regular"/>
              <a:ea typeface="+mj-ea"/>
              <a:cs typeface="+mj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758CC1C-8402-4FE7-9D8D-838CA610AFF7}"/>
              </a:ext>
            </a:extLst>
          </p:cNvPr>
          <p:cNvSpPr txBox="1"/>
          <p:nvPr/>
        </p:nvSpPr>
        <p:spPr>
          <a:xfrm>
            <a:off x="283634" y="572075"/>
            <a:ext cx="2657009" cy="461665"/>
          </a:xfrm>
          <a:prstGeom prst="rect">
            <a:avLst/>
          </a:prstGeom>
          <a:solidFill>
            <a:schemeClr val="bg1">
              <a:alpha val="42000"/>
            </a:schemeClr>
          </a:solidFill>
        </p:spPr>
        <p:txBody>
          <a:bodyPr wrap="non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l-GR" sz="2400" dirty="0">
                <a:solidFill>
                  <a:srgbClr val="0070C0"/>
                </a:solidFill>
              </a:rPr>
              <a:t>Πίνακας Παροχών</a:t>
            </a:r>
          </a:p>
        </p:txBody>
      </p:sp>
      <p:pic>
        <p:nvPicPr>
          <p:cNvPr id="20" name="Picture 11">
            <a:extLst>
              <a:ext uri="{FF2B5EF4-FFF2-40B4-BE49-F238E27FC236}">
                <a16:creationId xmlns:a16="http://schemas.microsoft.com/office/drawing/2014/main" id="{475A9F7F-7C9C-4B91-AC43-471387015F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0047"/>
            <a:ext cx="283633" cy="96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2689EE9-E85E-461B-8DCE-13BE7DB8D7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52477" y="5889132"/>
            <a:ext cx="810481" cy="810481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520DFC0-C377-4773-B75D-0B44600574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0571359"/>
              </p:ext>
            </p:extLst>
          </p:nvPr>
        </p:nvGraphicFramePr>
        <p:xfrm>
          <a:off x="1033805" y="1588016"/>
          <a:ext cx="10124390" cy="18115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4203">
                  <a:extLst>
                    <a:ext uri="{9D8B030D-6E8A-4147-A177-3AD203B41FA5}">
                      <a16:colId xmlns:a16="http://schemas.microsoft.com/office/drawing/2014/main" val="2480379961"/>
                    </a:ext>
                  </a:extLst>
                </a:gridCol>
                <a:gridCol w="2740187">
                  <a:extLst>
                    <a:ext uri="{9D8B030D-6E8A-4147-A177-3AD203B41FA5}">
                      <a16:colId xmlns:a16="http://schemas.microsoft.com/office/drawing/2014/main" val="260458734"/>
                    </a:ext>
                  </a:extLst>
                </a:gridCol>
              </a:tblGrid>
              <a:tr h="603849">
                <a:tc gridSpan="2">
                  <a:txBody>
                    <a:bodyPr/>
                    <a:lstStyle/>
                    <a:p>
                      <a:pPr algn="l"/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A0002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A0002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Επιδόματα   –   Σε περίπτωση μη χρήση κάλυψης νοσοκομειακής Περίθαλψης</a:t>
                      </a:r>
                    </a:p>
                  </a:txBody>
                  <a:tcPr>
                    <a:solidFill>
                      <a:schemeClr val="accent1">
                        <a:tint val="40000"/>
                        <a:alpha val="94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A0002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tint val="40000"/>
                        <a:alpha val="9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352208"/>
                  </a:ext>
                </a:extLst>
              </a:tr>
              <a:tr h="603849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Νοσοκομειακό επίδομα (μη χρήσης)  ( 1</a:t>
                      </a:r>
                      <a:r>
                        <a:rPr kumimoji="0" lang="el-GR" sz="1050" b="1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η</a:t>
                      </a: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ημέρα έως 90 ημέρες)</a:t>
                      </a:r>
                    </a:p>
                  </a:txBody>
                  <a:tcPr>
                    <a:solidFill>
                      <a:schemeClr val="accent1">
                        <a:tint val="20000"/>
                        <a:alpha val="9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l-GR" sz="1050" b="1" dirty="0">
                        <a:effectLst/>
                        <a:latin typeface="+mn-lt"/>
                      </a:endParaRPr>
                    </a:p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l-GR" sz="1050" b="1" dirty="0">
                          <a:effectLst/>
                          <a:latin typeface="+mn-lt"/>
                        </a:rPr>
                        <a:t>70 €</a:t>
                      </a:r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tint val="20000"/>
                        <a:alpha val="9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808602"/>
                  </a:ext>
                </a:extLst>
              </a:tr>
              <a:tr h="603849">
                <a:tc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Χειρουργικό επίδομα από </a:t>
                      </a:r>
                      <a:r>
                        <a:rPr kumimoji="0" lang="el-GR" sz="105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Ατύχημα/Ασθένεια, ανάλογα με τη σοβαρότητα της επέμβασης % επί των</a:t>
                      </a:r>
                    </a:p>
                  </a:txBody>
                  <a:tcPr>
                    <a:solidFill>
                      <a:schemeClr val="accent1">
                        <a:tint val="20000"/>
                        <a:alpha val="94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l-GR" sz="1050" b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l-GR" sz="105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500 €</a:t>
                      </a:r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tint val="20000"/>
                        <a:alpha val="9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" name="Εικόνα 1">
            <a:extLst>
              <a:ext uri="{FF2B5EF4-FFF2-40B4-BE49-F238E27FC236}">
                <a16:creationId xmlns:a16="http://schemas.microsoft.com/office/drawing/2014/main" id="{6C0F2B6D-60E0-C3BD-6EEE-49286A200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3282" y="6096459"/>
            <a:ext cx="2370152" cy="558028"/>
          </a:xfrm>
          <a:prstGeom prst="rect">
            <a:avLst/>
          </a:prstGeom>
        </p:spPr>
      </p:pic>
      <p:pic>
        <p:nvPicPr>
          <p:cNvPr id="5" name="Εικόνα 4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BD438ADF-396F-B8F5-1CC7-0A25EC3A7B0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075" y="6074933"/>
            <a:ext cx="1140164" cy="642292"/>
          </a:xfrm>
          <a:prstGeom prst="rect">
            <a:avLst/>
          </a:prstGeom>
        </p:spPr>
      </p:pic>
      <p:graphicFrame>
        <p:nvGraphicFramePr>
          <p:cNvPr id="6" name="Table 8">
            <a:extLst>
              <a:ext uri="{FF2B5EF4-FFF2-40B4-BE49-F238E27FC236}">
                <a16:creationId xmlns:a16="http://schemas.microsoft.com/office/drawing/2014/main" id="{CCDD821B-3390-C6F2-E73A-A55CA7E85A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966020"/>
              </p:ext>
            </p:extLst>
          </p:nvPr>
        </p:nvGraphicFramePr>
        <p:xfrm>
          <a:off x="1028087" y="4037867"/>
          <a:ext cx="10124390" cy="12076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4390">
                  <a:extLst>
                    <a:ext uri="{9D8B030D-6E8A-4147-A177-3AD203B41FA5}">
                      <a16:colId xmlns:a16="http://schemas.microsoft.com/office/drawing/2014/main" val="2480379961"/>
                    </a:ext>
                  </a:extLst>
                </a:gridCol>
              </a:tblGrid>
              <a:tr h="603849">
                <a:tc>
                  <a:txBody>
                    <a:bodyPr/>
                    <a:lstStyle/>
                    <a:p>
                      <a:pPr algn="ctr"/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A0002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Παροχή </a:t>
                      </a:r>
                      <a:r>
                        <a:rPr kumimoji="0" lang="en-US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A00021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Check Up</a:t>
                      </a:r>
                      <a:endParaRPr kumimoji="0" lang="el-GR" sz="105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A00021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>
                        <a:tint val="40000"/>
                        <a:alpha val="9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9352208"/>
                  </a:ext>
                </a:extLst>
              </a:tr>
              <a:tr h="603849">
                <a:tc>
                  <a:txBody>
                    <a:bodyPr/>
                    <a:lstStyle/>
                    <a:p>
                      <a:pPr marL="171450" marR="0" lvl="2" indent="-17145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ωρεάν </a:t>
                      </a:r>
                      <a:r>
                        <a:rPr kumimoji="0" lang="el-GR" sz="105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ck</a:t>
                      </a: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l-GR" sz="105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</a:t>
                      </a: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για τα κυρίως μέλη, σε βασικές εξετάσεις (Γενική Αίματος/Γενική Ούρων/Σάκχαρο/Ουρία/Ουρικό Οξύ/Χοληστερίνη/HDL–LDL/</a:t>
                      </a:r>
                      <a:r>
                        <a:rPr kumimoji="0" lang="el-GR" sz="105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θηρωματικός</a:t>
                      </a:r>
                      <a:r>
                        <a:rPr kumimoji="0" lang="el-GR" sz="105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Δείκτης)</a:t>
                      </a:r>
                    </a:p>
                  </a:txBody>
                  <a:tcPr anchor="ctr">
                    <a:solidFill>
                      <a:schemeClr val="accent1">
                        <a:tint val="20000"/>
                        <a:alpha val="94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8086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900278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reading a book&#10;&#10;Description generated with high confidence">
            <a:extLst>
              <a:ext uri="{FF2B5EF4-FFF2-40B4-BE49-F238E27FC236}">
                <a16:creationId xmlns:a16="http://schemas.microsoft.com/office/drawing/2014/main" id="{1C60F444-CE29-41F4-BCB2-8A5F3EC07D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r="2418" b="19954"/>
          <a:stretch/>
        </p:blipFill>
        <p:spPr>
          <a:xfrm>
            <a:off x="-17353" y="-10047"/>
            <a:ext cx="12351170" cy="6858000"/>
          </a:xfrm>
          <a:prstGeom prst="rect">
            <a:avLst/>
          </a:prstGeom>
        </p:spPr>
      </p:pic>
      <p:sp>
        <p:nvSpPr>
          <p:cNvPr id="2314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69450" y="1245671"/>
            <a:ext cx="8386686" cy="28369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263525">
              <a:lnSpc>
                <a:spcPct val="250000"/>
              </a:lnSpc>
              <a:buClr>
                <a:schemeClr val="tx2"/>
              </a:buClr>
              <a:buFont typeface="Wingdings" pitchFamily="2" charset="2"/>
            </a:pPr>
            <a:r>
              <a:rPr lang="el-GR" altLang="el-GR" b="1" dirty="0">
                <a:solidFill>
                  <a:srgbClr val="C00000"/>
                </a:solidFill>
                <a:latin typeface="Arial Regular"/>
                <a:ea typeface="Arial Regular"/>
                <a:cs typeface="Arial Regular"/>
              </a:rPr>
              <a:t>Υπηρεσίες – </a:t>
            </a:r>
            <a:r>
              <a:rPr lang="en-US" altLang="el-GR" b="1" dirty="0">
                <a:solidFill>
                  <a:srgbClr val="C00000"/>
                </a:solidFill>
                <a:latin typeface="Arial Regular"/>
                <a:ea typeface="Arial Regular"/>
                <a:cs typeface="Arial Regular"/>
              </a:rPr>
              <a:t>Generali Privilege System, GPS</a:t>
            </a:r>
            <a:br>
              <a:rPr lang="el-GR" dirty="0">
                <a:solidFill>
                  <a:srgbClr val="C00000"/>
                </a:solidFill>
                <a:latin typeface="Arial Regular"/>
                <a:ea typeface="Arial Regular"/>
                <a:cs typeface="Arial Regular"/>
              </a:rPr>
            </a:br>
            <a:br>
              <a:rPr lang="el-GR" dirty="0">
                <a:solidFill>
                  <a:srgbClr val="C00000"/>
                </a:solidFill>
                <a:latin typeface="Arial Regular"/>
                <a:ea typeface="Arial Regular"/>
                <a:cs typeface="Arial Regular"/>
              </a:rPr>
            </a:br>
            <a:endParaRPr lang="it-IT" dirty="0">
              <a:solidFill>
                <a:srgbClr val="C00000"/>
              </a:solidFill>
              <a:latin typeface="Arial Regular"/>
              <a:ea typeface="Arial Regular"/>
              <a:cs typeface="Arial Regular"/>
            </a:endParaRPr>
          </a:p>
        </p:txBody>
      </p:sp>
      <p:pic>
        <p:nvPicPr>
          <p:cNvPr id="6" name="Picture 2" descr="http://www.generali.gr/main/images/stories/call-center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894" r="-1" b="4474"/>
          <a:stretch/>
        </p:blipFill>
        <p:spPr bwMode="auto">
          <a:xfrm>
            <a:off x="930165" y="2803792"/>
            <a:ext cx="3595652" cy="151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Group 1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307187"/>
              </p:ext>
            </p:extLst>
          </p:nvPr>
        </p:nvGraphicFramePr>
        <p:xfrm>
          <a:off x="4525817" y="2807954"/>
          <a:ext cx="6683465" cy="1527464"/>
        </p:xfrm>
        <a:graphic>
          <a:graphicData uri="http://schemas.openxmlformats.org/drawingml/2006/table">
            <a:tbl>
              <a:tblPr/>
              <a:tblGrid>
                <a:gridCol w="66834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74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Generali Privilege System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l-GR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Σύστημα Παροχής Υπηρεσιών Υγείας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99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l-GR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24ώρες - 365 ημέρες</a:t>
                      </a: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 – </a:t>
                      </a:r>
                      <a:r>
                        <a:rPr kumimoji="0" lang="el-GR" sz="1600" b="1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Τηλ</a:t>
                      </a:r>
                      <a:r>
                        <a:rPr kumimoji="0" lang="el-GR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. 18112 ή 210 8096100</a:t>
                      </a: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 ( </a:t>
                      </a:r>
                      <a:r>
                        <a:rPr kumimoji="0" lang="el-GR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Regular"/>
                          <a:ea typeface="+mn-ea"/>
                          <a:cs typeface="+mn-cs"/>
                        </a:rPr>
                        <a:t>επιλογή 2)</a:t>
                      </a:r>
                      <a:endParaRPr kumimoji="0" lang="el-GR" sz="10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Regular"/>
                        <a:ea typeface="+mn-ea"/>
                        <a:cs typeface="+mn-cs"/>
                      </a:endParaRPr>
                    </a:p>
                  </a:txBody>
                  <a:tcPr marT="45734" marB="4573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2822034" y="2065902"/>
            <a:ext cx="93699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2">
              <a:lnSpc>
                <a:spcPct val="150000"/>
              </a:lnSpc>
            </a:pPr>
            <a:r>
              <a:rPr lang="el-GR" sz="1600" dirty="0">
                <a:solidFill>
                  <a:srgbClr val="7F7F7F"/>
                </a:solidFill>
                <a:latin typeface="Arial Regular"/>
                <a:ea typeface="+mj-ea"/>
                <a:cs typeface="+mj-cs"/>
              </a:rPr>
              <a:t>Δίκτυα Συμβεβλημένων και Συνεργαζόμενων Ιατρικών Παρόχων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9A4AB3-2B80-4D91-BDA9-4F0A74F107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61834" y="6023203"/>
            <a:ext cx="810481" cy="810481"/>
          </a:xfrm>
          <a:prstGeom prst="rect">
            <a:avLst/>
          </a:prstGeom>
        </p:spPr>
      </p:pic>
      <p:pic>
        <p:nvPicPr>
          <p:cNvPr id="13" name="Εικόνα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528" y="6199596"/>
            <a:ext cx="2370152" cy="558028"/>
          </a:xfrm>
          <a:prstGeom prst="rect">
            <a:avLst/>
          </a:prstGeom>
        </p:spPr>
      </p:pic>
      <p:pic>
        <p:nvPicPr>
          <p:cNvPr id="3" name="Εικόνα 2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690CE706-B247-B099-AE89-DCA882EA1F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793" y="6199596"/>
            <a:ext cx="990582" cy="55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4742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 txBox="1">
            <a:spLocks/>
          </p:cNvSpPr>
          <p:nvPr/>
        </p:nvSpPr>
        <p:spPr bwMode="auto">
          <a:xfrm>
            <a:off x="704025" y="678901"/>
            <a:ext cx="4427301" cy="6081019"/>
          </a:xfrm>
          <a:prstGeom prst="rect">
            <a:avLst/>
          </a:prstGeom>
          <a:solidFill>
            <a:schemeClr val="bg1">
              <a:alpha val="62000"/>
            </a:schemeClr>
          </a:solidFill>
          <a:ln w="3175">
            <a:noFill/>
          </a:ln>
        </p:spPr>
        <p:txBody>
          <a:bodyPr vert="horz" wrap="square" lIns="0" tIns="0" rIns="0" bIns="0" numCol="1" spcCol="21600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4400" indent="-180000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9638" indent="-179388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pitchFamily="2" charset="2"/>
              <a:buChar char="Ø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650" lvl="2" indent="-17145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600" dirty="0">
                <a:solidFill>
                  <a:srgbClr val="C00000"/>
                </a:solidFill>
                <a:latin typeface="Arial Regular"/>
              </a:rPr>
              <a:t>Αθήνα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srgbClr val="000000"/>
                </a:solidFill>
                <a:latin typeface="Arial Regular"/>
              </a:rPr>
              <a:t>ATHENS EYE </a:t>
            </a:r>
            <a:r>
              <a:rPr lang="el-GR" sz="900" dirty="0">
                <a:solidFill>
                  <a:srgbClr val="000000"/>
                </a:solidFill>
                <a:latin typeface="Arial Regular"/>
              </a:rPr>
              <a:t>ΚΛΙΝΙΚΗ Α.Ε. 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ΒΙΟΚΛΙΝΙΚΗ ΑΘΗΝΩΝ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ΒΛΕΜΜΑ ΙΑΤΡΙΚΗ Ε.Π.Ε.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ΓΕΝΙΚΗ ΚΛΙΝΙΚΗ ΠΕΙΡΑΙΚΟ ΘΕΡΑΠΕΥΤΗΡΙΟ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ΕΡΡΙΚΟΣ ΝΤ</a:t>
            </a:r>
            <a:r>
              <a:rPr lang="en-US" sz="900" dirty="0">
                <a:solidFill>
                  <a:srgbClr val="000000"/>
                </a:solidFill>
                <a:latin typeface="Arial Regular"/>
              </a:rPr>
              <a:t>Y</a:t>
            </a:r>
            <a:r>
              <a:rPr lang="el-GR" sz="900" dirty="0">
                <a:solidFill>
                  <a:srgbClr val="000000"/>
                </a:solidFill>
                <a:latin typeface="Arial Regular"/>
              </a:rPr>
              <a:t>ΝΑΝ ( ΗΜΙΘΕΑ)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ΕΥΡΩΚΛΙΝΙΚΗ ΑΘΗΝΩΝ Α.Ε.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ΕΥΡΩΚΛΙΝΙΚΗ ΠΑΙΔΩΝ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ΘΕΡΑΠΕΥΤΙΚΟ ΚΕΝΤΡΟ ΑΘΗΝΩΝ ΛΕΥΚΟΣ ΣΤΑΥΡΟΣ</a:t>
            </a:r>
            <a:r>
              <a:rPr lang="en-US" sz="900" dirty="0">
                <a:solidFill>
                  <a:srgbClr val="000000"/>
                </a:solidFill>
                <a:latin typeface="Arial Regular"/>
              </a:rPr>
              <a:t>»</a:t>
            </a:r>
            <a:endParaRPr lang="el-GR" sz="900" dirty="0">
              <a:solidFill>
                <a:srgbClr val="000000"/>
              </a:solidFill>
              <a:latin typeface="Arial Regular"/>
            </a:endParaRP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ΜΕΤΡΟΠΟΛΙΤΑΝ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ΜΕΤΡΟΠΟΛΙΤΑΝ </a:t>
            </a:r>
            <a:r>
              <a:rPr lang="en-US" sz="900" dirty="0">
                <a:solidFill>
                  <a:srgbClr val="000000"/>
                </a:solidFill>
                <a:latin typeface="Arial Regular"/>
              </a:rPr>
              <a:t>GENERAL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ΙΑΣΩ ΠΑΙΔΙΑΤΡΙΚΗ ΚΛΙΝΙΚΗ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ΙΑΤΡΙΚΟ ΙΝΣΤΙΤΟΥΤΟ ΟΦΘΑΛΜΟΛΟΓΙΑΣ </a:t>
            </a:r>
            <a:r>
              <a:rPr lang="en-US" sz="900" dirty="0">
                <a:solidFill>
                  <a:srgbClr val="000000"/>
                </a:solidFill>
                <a:latin typeface="Arial Regular"/>
              </a:rPr>
              <a:t>ATHENS VISION</a:t>
            </a:r>
            <a:endParaRPr lang="el-GR" sz="900" dirty="0">
              <a:solidFill>
                <a:srgbClr val="000000"/>
              </a:solidFill>
              <a:latin typeface="Arial Regular"/>
            </a:endParaRP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ΙΑΤΡΙΚΟ ΚΕΝΤΡΟ ΑΘΗΝΩΝ 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ΙΑΤΡΙΚΟ ΠΑΛΑΙΟΥ ΦΑΛΗΡΟΥ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ΙΑΤΡΙΚΟ ΠΕΡΙΣΤΕΡΙΟΥ 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ΙΑΤΡΙΚΟ ΨΥΧΙΚΟΥ 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ΚΕΝΤΡΙΚΗ ΚΛΙΝΙΚΗ ΑΘΗΝΩΝ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ΜΗΤΕΡΑ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ΥΓΕΙΑ</a:t>
            </a:r>
          </a:p>
          <a:p>
            <a:pPr marL="533400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900" dirty="0">
                <a:solidFill>
                  <a:srgbClr val="000000"/>
                </a:solidFill>
                <a:latin typeface="Arial Regular"/>
              </a:rPr>
              <a:t>ΩΝΑΣΕΙΟ</a:t>
            </a:r>
          </a:p>
          <a:p>
            <a:pPr marL="361950" lvl="0" indent="0">
              <a:lnSpc>
                <a:spcPct val="200000"/>
              </a:lnSpc>
              <a:buClr>
                <a:srgbClr val="C21B17"/>
              </a:buClr>
              <a:buNone/>
              <a:defRPr/>
            </a:pPr>
            <a:endParaRPr lang="el-GR" sz="1050" dirty="0">
              <a:solidFill>
                <a:srgbClr val="000000"/>
              </a:solidFill>
              <a:latin typeface="Arial Regular"/>
            </a:endParaRPr>
          </a:p>
        </p:txBody>
      </p:sp>
      <p:sp>
        <p:nvSpPr>
          <p:cNvPr id="11" name="object 3"/>
          <p:cNvSpPr txBox="1">
            <a:spLocks noChangeArrowheads="1"/>
          </p:cNvSpPr>
          <p:nvPr/>
        </p:nvSpPr>
        <p:spPr bwMode="auto">
          <a:xfrm>
            <a:off x="539748" y="238300"/>
            <a:ext cx="9359625" cy="44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 marL="12700" marR="0" lvl="0" indent="0" algn="l" defTabSz="457200" rtl="0" eaLnBrk="1" fontAlgn="base" latinLnBrk="0" hangingPunct="1">
              <a:lnSpc>
                <a:spcPct val="96000"/>
              </a:lnSpc>
              <a:spcBef>
                <a:spcPts val="13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l-GR" alt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C21B17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Δίκτυο Συμβεβλημένων Ιδιωτικών Νοσηλευτηρίων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3F6DCC-BE53-4CE4-B3D0-EC8C7F78FADC}"/>
              </a:ext>
            </a:extLst>
          </p:cNvPr>
          <p:cNvSpPr txBox="1">
            <a:spLocks/>
          </p:cNvSpPr>
          <p:nvPr/>
        </p:nvSpPr>
        <p:spPr bwMode="auto">
          <a:xfrm>
            <a:off x="5813420" y="678902"/>
            <a:ext cx="4656963" cy="5340043"/>
          </a:xfrm>
          <a:prstGeom prst="rect">
            <a:avLst/>
          </a:prstGeom>
          <a:solidFill>
            <a:schemeClr val="bg1">
              <a:alpha val="62000"/>
            </a:schemeClr>
          </a:solidFill>
          <a:ln w="3175">
            <a:noFill/>
          </a:ln>
        </p:spPr>
        <p:txBody>
          <a:bodyPr vert="horz" wrap="square" lIns="0" tIns="0" rIns="0" bIns="0" numCol="1" spcCol="216000" anchor="t" anchorCtr="0" compatLnSpc="1">
            <a:prstTxWarp prst="textNoShape">
              <a:avLst/>
            </a:prstTxWarp>
            <a:noAutofit/>
          </a:bodyPr>
          <a:lstStyle>
            <a:lvl1pPr marL="171450" indent="-171450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200" b="1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9388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Lucida Grande"/>
              <a:buChar char="-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4400" indent="-180000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charset="2"/>
              <a:buChar char="²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9638" indent="-179388" algn="l" defTabSz="457200" rtl="0" fontAlgn="base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SzPct val="60000"/>
              <a:buFont typeface="Wingdings" pitchFamily="2" charset="2"/>
              <a:buChar char="Ø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2425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600" b="0" dirty="0">
                <a:solidFill>
                  <a:srgbClr val="C00000"/>
                </a:solidFill>
                <a:latin typeface="Arial Regular"/>
              </a:rPr>
              <a:t>Θεσσαλονίκη</a:t>
            </a:r>
          </a:p>
          <a:p>
            <a:pPr marL="352425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000" dirty="0">
                <a:solidFill>
                  <a:srgbClr val="000000"/>
                </a:solidFill>
                <a:latin typeface="Arial Regular"/>
              </a:rPr>
              <a:t>ΙΑΤΡΙΚΟ ΔΙΑΒΑΛΚΑΝΙΚΟ ΘΕΣΣΑΛΟΝΙΚΗΣ</a:t>
            </a:r>
          </a:p>
          <a:p>
            <a:pPr marL="352425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000" dirty="0">
                <a:solidFill>
                  <a:srgbClr val="000000"/>
                </a:solidFill>
                <a:latin typeface="Arial Regular"/>
              </a:rPr>
              <a:t>ΒΙΟΚΛΙΝΙΚΗ ΘΕΣΣΑΛΟΝΙΚΗΣ</a:t>
            </a:r>
          </a:p>
          <a:p>
            <a:pPr marL="352425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000" dirty="0">
                <a:solidFill>
                  <a:srgbClr val="000000"/>
                </a:solidFill>
                <a:latin typeface="Arial Regular"/>
              </a:rPr>
              <a:t>EUROMEDICA - ΓΕΝΙΚΗ ΚΛΙΝΙΚΗ ΘΕΣΣΑΛΟΝΙΚΗΣ</a:t>
            </a:r>
          </a:p>
          <a:p>
            <a:pPr marL="352425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000" dirty="0">
                <a:solidFill>
                  <a:srgbClr val="000000"/>
                </a:solidFill>
                <a:latin typeface="Arial Regular"/>
              </a:rPr>
              <a:t>EUROMEDICA ΚΥΑΝΟΥΣ ΣΤΑΥΡΟΣ ΘΕΣΣΑΛΟΝΙΚΗΣ</a:t>
            </a:r>
          </a:p>
          <a:p>
            <a:pPr marL="180975" lvl="0" indent="0">
              <a:lnSpc>
                <a:spcPct val="200000"/>
              </a:lnSpc>
              <a:buClr>
                <a:srgbClr val="C21B17"/>
              </a:buClr>
              <a:buNone/>
              <a:defRPr/>
            </a:pPr>
            <a:endParaRPr lang="el-GR" sz="1000" dirty="0">
              <a:solidFill>
                <a:srgbClr val="000000"/>
              </a:solidFill>
              <a:latin typeface="Arial Regular"/>
            </a:endParaRPr>
          </a:p>
          <a:p>
            <a:pPr marL="352425" lvl="0">
              <a:lnSpc>
                <a:spcPct val="200000"/>
              </a:lnSpc>
              <a:buClr>
                <a:srgbClr val="C21B17"/>
              </a:buClr>
              <a:buFont typeface="Wingdings" panose="05000000000000000000" pitchFamily="2" charset="2"/>
              <a:buChar char="§"/>
              <a:defRPr/>
            </a:pPr>
            <a:r>
              <a:rPr lang="el-GR" sz="1600" b="0" dirty="0">
                <a:solidFill>
                  <a:srgbClr val="C00000"/>
                </a:solidFill>
                <a:latin typeface="Arial Regular"/>
              </a:rPr>
              <a:t>Νοσοκομεία Υπόλοιπης Ελλάδας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CRETA INTERCLINIC (</a:t>
            </a: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ΚΡΗΤΗ)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IASIS </a:t>
            </a: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ΓΕΝΙΚΗ ΚΛΙΝΙΚΗ ΓΑΒΡΙΛΑΚΗ Α.Ε. (ΚΡΗΤΗ)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ΟΛΥΜΠΙΟΝ ΘΕΡΑΠΕΥΤΗΡΙΟ - ΓΕΝΙΚΗ ΚΛΙΝΙΚΗ (ΠΑΤΡΑ)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ΓΕΝΙΚΗ ΚΛΙΝΙΚΗ ΖΩΟΔΟΧΟΣ ΠΗΓΗ (ΚΟΖΑΝΗ)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EUROMEDICA - </a:t>
            </a: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ΓΕΝΙΚΗ ΚΛΙΝΙΚΗ ΔΩΔΕΚΑΝΗΣΟΥ (ΡΟΔΟΣ)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ΕΛΕΥΘΩ ΚΛΙΝΙΚΗ ΑΡΓΥΡΟΥΔΗ Α.Ε. (ΧΙΟΣ)</a:t>
            </a:r>
          </a:p>
          <a:p>
            <a:pPr marL="352425" marR="0" lvl="0" indent="-171450" algn="l" defTabSz="457200" rtl="0" eaLnBrk="1" fontAlgn="base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Regular"/>
                <a:ea typeface="+mn-ea"/>
              </a:rPr>
              <a:t>ΙΑΣΩ ΘΕΣΣΑΛΙΑΣ (ΛΑΡΙΣΑ)</a:t>
            </a:r>
            <a:endParaRPr kumimoji="0" lang="el-GR" sz="1000" b="1" i="0" u="none" strike="noStrike" kern="1200" cap="none" spc="0" normalizeH="0" baseline="0" noProof="0" dirty="0">
              <a:ln>
                <a:noFill/>
              </a:ln>
              <a:solidFill>
                <a:srgbClr val="C21B17"/>
              </a:solidFill>
              <a:effectLst/>
              <a:uLnTx/>
              <a:uFillTx/>
              <a:latin typeface="Arial" pitchFamily="34" charset="0"/>
              <a:ea typeface="Arial Regular"/>
              <a:cs typeface="Arial" pitchFamily="34" charset="0"/>
            </a:endParaRPr>
          </a:p>
          <a:p>
            <a:pPr marL="442912" marR="0" lvl="0" indent="0" algn="l" defTabSz="457200" rtl="0" eaLnBrk="1" fontAlgn="base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C21B17"/>
              </a:buClr>
              <a:buSzPct val="90000"/>
              <a:buFont typeface="Lucida Grande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t>									</a:t>
            </a:r>
            <a:r>
              <a:rPr kumimoji="0" lang="el-GR" b="0" i="0" u="none" strike="noStrike" kern="1200" cap="none" spc="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</a:rPr>
              <a:t>                                            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72BBC70-8E89-4194-A480-7B265F1EA4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82734" y="6018945"/>
            <a:ext cx="810481" cy="810481"/>
          </a:xfrm>
          <a:prstGeom prst="rect">
            <a:avLst/>
          </a:prstGeom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104" y="6250362"/>
            <a:ext cx="2164281" cy="509558"/>
          </a:xfrm>
          <a:prstGeom prst="rect">
            <a:avLst/>
          </a:prstGeom>
        </p:spPr>
      </p:pic>
      <p:pic>
        <p:nvPicPr>
          <p:cNvPr id="2" name="Εικόνα 1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F3E03BFE-12C5-8166-BFCB-35F7D7F67A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8722" y="6140976"/>
            <a:ext cx="1131020" cy="63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0694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reading a book&#10;&#10;Description generated with high confidence">
            <a:extLst>
              <a:ext uri="{FF2B5EF4-FFF2-40B4-BE49-F238E27FC236}">
                <a16:creationId xmlns:a16="http://schemas.microsoft.com/office/drawing/2014/main" id="{1D5C90DE-9403-4C56-822A-141B9F056E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" r="2418" b="19954"/>
          <a:stretch/>
        </p:blipFill>
        <p:spPr>
          <a:xfrm>
            <a:off x="0" y="31683"/>
            <a:ext cx="12351170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02E633B9-1E0B-4531-9969-1ECABE69742B}" type="slidenum">
              <a:rPr lang="it-IT" altLang="el-GR"/>
              <a:pPr>
                <a:defRPr/>
              </a:pPr>
              <a:t>9</a:t>
            </a:fld>
            <a:endParaRPr lang="it-IT" altLang="el-GR" dirty="0"/>
          </a:p>
        </p:txBody>
      </p:sp>
      <p:sp>
        <p:nvSpPr>
          <p:cNvPr id="7" name="object 3"/>
          <p:cNvSpPr txBox="1">
            <a:spLocks noChangeArrowheads="1"/>
          </p:cNvSpPr>
          <p:nvPr/>
        </p:nvSpPr>
        <p:spPr bwMode="auto">
          <a:xfrm>
            <a:off x="1899659" y="421838"/>
            <a:ext cx="8056279" cy="4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marL="127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Regular"/>
                <a:ea typeface="Arial Regular"/>
                <a:cs typeface="Arial Regular"/>
              </a:defRPr>
            </a:lvl9pPr>
          </a:lstStyle>
          <a:p>
            <a:pPr>
              <a:lnSpc>
                <a:spcPct val="96000"/>
              </a:lnSpc>
              <a:spcBef>
                <a:spcPts val="13"/>
              </a:spcBef>
              <a:buClrTx/>
              <a:defRPr/>
            </a:pPr>
            <a:r>
              <a:rPr lang="el-GR" altLang="el-GR" sz="2400" b="1" dirty="0">
                <a:solidFill>
                  <a:srgbClr val="0070C0"/>
                </a:solidFill>
                <a:ea typeface="+mj-ea"/>
                <a:cs typeface="Arial Italic"/>
              </a:rPr>
              <a:t>Έκτακτα περιστατικά</a:t>
            </a:r>
            <a:endParaRPr lang="en-US" altLang="el-GR" sz="2400" b="1" dirty="0">
              <a:solidFill>
                <a:srgbClr val="0070C0"/>
              </a:solidFill>
              <a:ea typeface="+mj-ea"/>
              <a:cs typeface="Arial Italic"/>
            </a:endParaRPr>
          </a:p>
        </p:txBody>
      </p:sp>
      <p:sp>
        <p:nvSpPr>
          <p:cNvPr id="19" name="AutoShape 10"/>
          <p:cNvSpPr>
            <a:spLocks noChangeArrowheads="1"/>
          </p:cNvSpPr>
          <p:nvPr/>
        </p:nvSpPr>
        <p:spPr bwMode="auto">
          <a:xfrm>
            <a:off x="2135560" y="2564903"/>
            <a:ext cx="6220164" cy="3667365"/>
          </a:xfrm>
          <a:prstGeom prst="roundRect">
            <a:avLst>
              <a:gd name="adj" fmla="val 16667"/>
            </a:avLst>
          </a:prstGeom>
          <a:solidFill>
            <a:srgbClr val="F9F9F9"/>
          </a:solidFill>
          <a:ln w="9525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125400" prstMaterial="legacyMatte">
            <a:bevelT w="13500" h="13500" prst="angle"/>
            <a:bevelB w="13500" h="13500" prst="angle"/>
            <a:extrusionClr>
              <a:srgbClr val="F9F9F9"/>
            </a:extrusionClr>
          </a:sp3d>
          <a:extLs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Για την ενεργοποίηση των παροχων απαραίτητη η αποστολή σχετικής </a:t>
            </a: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Εντολής - Έγκρισης στο νοσηλευτήριο από το Συντονιστικό Κέντρο της</a:t>
            </a: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US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Generali ( 18112) 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για κάθε περιστατικό.</a:t>
            </a:r>
          </a:p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l-GR" altLang="el-GR" sz="1200" kern="0" dirty="0">
              <a:solidFill>
                <a:srgbClr val="A0002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Regular"/>
            </a:endParaRPr>
          </a:p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l-GR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Έως </a:t>
            </a:r>
            <a:r>
              <a:rPr lang="en-US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200</a:t>
            </a:r>
            <a:r>
              <a:rPr lang="el-GR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€ δωρεάν Διαγνωστικές Εξετάσεις 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ανά περίπτωση περιστατικού</a:t>
            </a:r>
            <a:r>
              <a:rPr lang="en-US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στο </a:t>
            </a: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     </a:t>
            </a:r>
            <a:r>
              <a:rPr lang="el-GR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Ιατρικό Αθηνών 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και </a:t>
            </a:r>
            <a:r>
              <a:rPr lang="el-GR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450€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στον </a:t>
            </a:r>
            <a:r>
              <a:rPr lang="el-GR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υπόλοιπο Όμιλο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.</a:t>
            </a: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l-GR" altLang="el-GR" sz="1200" kern="0" dirty="0">
              <a:solidFill>
                <a:srgbClr val="A0002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Regular"/>
            </a:endParaRPr>
          </a:p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l-GR" altLang="el-GR" sz="1200" b="1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Κάλυψη Ιατρικής Αμοιβής Βασικών Ειδικοτήτων </a:t>
            </a:r>
            <a:r>
              <a:rPr lang="en-US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: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</a:t>
            </a:r>
            <a:endParaRPr lang="en-US" altLang="el-GR" sz="1200" kern="0" dirty="0">
              <a:solidFill>
                <a:srgbClr val="A0002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Regular"/>
            </a:endParaRP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    Παθολόγο, Καρδιολόγο, Χειρουργό, Ορθοπεδικό</a:t>
            </a:r>
          </a:p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Παιδιατρικό</a:t>
            </a:r>
            <a:r>
              <a:rPr lang="en-US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: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   </a:t>
            </a:r>
            <a:r>
              <a:rPr lang="en-US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Παιδίατρο , Παιδοχειρουργό</a:t>
            </a:r>
          </a:p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l-GR" altLang="el-GR" sz="1200" kern="0" dirty="0">
              <a:solidFill>
                <a:srgbClr val="A0002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Regular"/>
            </a:endParaRPr>
          </a:p>
          <a:p>
            <a:pPr marL="171450" indent="-171450"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Άλλες χρώσεις – Υγειονομικό υλικό, ιατρικές πράξεις, αμοιβές ιατρών εκτός</a:t>
            </a: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Ειδικοτήτων</a:t>
            </a:r>
            <a:r>
              <a:rPr lang="en-US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 (</a:t>
            </a:r>
            <a:r>
              <a:rPr lang="el-GR" altLang="el-GR" sz="1200" kern="0" dirty="0">
                <a:solidFill>
                  <a:srgbClr val="A0002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Regular"/>
              </a:rPr>
              <a:t>ειδικές χρεώσεις) που εφημερεύουν επιβαρύνουν τον ασφαλισμένο</a:t>
            </a:r>
          </a:p>
          <a:p>
            <a:pPr eaLnBrk="1" fontAlgn="auto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None/>
              <a:defRPr/>
            </a:pPr>
            <a:endParaRPr lang="el-GR" altLang="el-GR" sz="1000" kern="0" dirty="0">
              <a:solidFill>
                <a:srgbClr val="A0002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Regular"/>
            </a:endParaRPr>
          </a:p>
        </p:txBody>
      </p:sp>
      <p:sp>
        <p:nvSpPr>
          <p:cNvPr id="10" name="Rounded Rectangle 17">
            <a:extLst>
              <a:ext uri="{FF2B5EF4-FFF2-40B4-BE49-F238E27FC236}">
                <a16:creationId xmlns:a16="http://schemas.microsoft.com/office/drawing/2014/main" id="{3AD50C0A-F8FB-437D-93EA-D6C255EF2A51}"/>
              </a:ext>
            </a:extLst>
          </p:cNvPr>
          <p:cNvSpPr/>
          <p:nvPr/>
        </p:nvSpPr>
        <p:spPr>
          <a:xfrm>
            <a:off x="2135559" y="1334354"/>
            <a:ext cx="6220165" cy="732908"/>
          </a:xfrm>
          <a:prstGeom prst="roundRect">
            <a:avLst/>
          </a:prstGeom>
          <a:solidFill>
            <a:srgbClr val="80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50000"/>
              </a:lnSpc>
              <a:spcBef>
                <a:spcPct val="50000"/>
              </a:spcBef>
              <a:buClr>
                <a:srgbClr val="A00021"/>
              </a:buClr>
              <a:defRPr/>
            </a:pPr>
            <a:r>
              <a:rPr lang="el-GR" altLang="el-GR" sz="1400" dirty="0">
                <a:solidFill>
                  <a:srgbClr val="FFFFFF"/>
                </a:solidFill>
                <a:latin typeface="Arial Regular"/>
              </a:rPr>
              <a:t>ΟΜΙΛΟΣ ΙΑΤΡΙΚΟ ΑΘΗΝΩΝ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F2B4336-FE7E-4FA3-B231-7C4AF2E04B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52476" y="6033183"/>
            <a:ext cx="810481" cy="810481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9105" y="6267665"/>
            <a:ext cx="2113666" cy="497641"/>
          </a:xfrm>
          <a:prstGeom prst="rect">
            <a:avLst/>
          </a:prstGeom>
        </p:spPr>
      </p:pic>
      <p:pic>
        <p:nvPicPr>
          <p:cNvPr id="2" name="Εικόνα 1" descr="Εικόνα που περιέχει γραμματοσειρά, λογότυπο, κείμενο, γραφικά&#10;&#10;Περιγραφή που δημιουργήθηκε αυτόματα">
            <a:extLst>
              <a:ext uri="{FF2B5EF4-FFF2-40B4-BE49-F238E27FC236}">
                <a16:creationId xmlns:a16="http://schemas.microsoft.com/office/drawing/2014/main" id="{9BF0ED97-942B-4BF7-0BA0-A155CD55AB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611" y="6232268"/>
            <a:ext cx="990582" cy="55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520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Slide Next steps">
  <a:themeElements>
    <a:clrScheme name="Slide Next steps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Next steps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Next steps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Next steps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Next steps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Slide chart + Numeric Highlights">
  <a:themeElements>
    <a:clrScheme name="Slide chart + Numeric Highlights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chart + Numeric Highlights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chart + Numeric Highlights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chart + Numeric Highlights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chart + Numeric Highlights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Slide Closure">
  <a:themeElements>
    <a:clrScheme name="Slide Closure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Closure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Closure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Closure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Closure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Slide Back-Up">
  <a:themeElements>
    <a:clrScheme name="Slide Back-Up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Back-Up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Back-Up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Back-Up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Back-Up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Generic slide: 1 column">
  <a:themeElements>
    <a:clrScheme name="Generic slide: 1 column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1_Generic slide: 1 column">
      <a:majorFont>
        <a:latin typeface="Arial"/>
        <a:ea typeface=""/>
        <a:cs typeface="Arial Italic"/>
      </a:majorFont>
      <a:minorFont>
        <a:latin typeface="Arial"/>
        <a:ea typeface=""/>
        <a:cs typeface="Arial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Generic slide: 1 column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Slide Closure">
  <a:themeElements>
    <a:clrScheme name="Slide Closure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Closure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Closure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Closure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Closure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2_Generic slide: 1 column">
  <a:themeElements>
    <a:clrScheme name="Generic slide: 1 column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1_Generic slide: 1 column">
      <a:majorFont>
        <a:latin typeface="Arial"/>
        <a:ea typeface=""/>
        <a:cs typeface="Arial Italic"/>
      </a:majorFont>
      <a:minorFont>
        <a:latin typeface="Arial"/>
        <a:ea typeface=""/>
        <a:cs typeface="Arial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Generic slide: 1 column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4_Generic slide: 1 column">
  <a:themeElements>
    <a:clrScheme name="Generic slide: 1 column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1_Generic slide: 1 column">
      <a:majorFont>
        <a:latin typeface="Arial"/>
        <a:ea typeface=""/>
        <a:cs typeface="Arial Italic"/>
      </a:majorFont>
      <a:minorFont>
        <a:latin typeface="Arial"/>
        <a:ea typeface=""/>
        <a:cs typeface="Arial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Generic slide: 1 column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04_Generali_Light_DEF">
  <a:themeElements>
    <a:clrScheme name="Generali_colori_C">
      <a:dk1>
        <a:sysClr val="windowText" lastClr="000000"/>
      </a:dk1>
      <a:lt1>
        <a:sysClr val="window" lastClr="FFFFFF"/>
      </a:lt1>
      <a:dk2>
        <a:srgbClr val="BD2027"/>
      </a:dk2>
      <a:lt2>
        <a:srgbClr val="FEEEE6"/>
      </a:lt2>
      <a:accent1>
        <a:srgbClr val="BD2027"/>
      </a:accent1>
      <a:accent2>
        <a:srgbClr val="C25439"/>
      </a:accent2>
      <a:accent3>
        <a:srgbClr val="E9B09A"/>
      </a:accent3>
      <a:accent4>
        <a:srgbClr val="5C5D5F"/>
      </a:accent4>
      <a:accent5>
        <a:srgbClr val="CFD0D2"/>
      </a:accent5>
      <a:accent6>
        <a:srgbClr val="A1A3A4"/>
      </a:accent6>
      <a:hlink>
        <a:srgbClr val="BD2027"/>
      </a:hlink>
      <a:folHlink>
        <a:srgbClr val="C25439"/>
      </a:folHlink>
    </a:clrScheme>
    <a:fontScheme name="BE_typografia">
      <a:majorFont>
        <a:latin typeface="Arial Regular"/>
        <a:ea typeface="Arial Italic"/>
        <a:cs typeface=""/>
      </a:majorFont>
      <a:minorFont>
        <a:latin typeface="Arial Regular"/>
        <a:ea typeface="Arial Regular"/>
        <a:cs typeface=""/>
      </a:minorFont>
    </a:fontScheme>
    <a:fmtScheme name="Città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  <a:scene3d>
          <a:camera prst="orthographicFront" fov="0">
            <a:rot lat="0" lon="0" rev="0"/>
          </a:camera>
          <a:lightRig rig="threePt" dir="t">
            <a:rot lat="0" lon="0" rev="0"/>
          </a:lightRig>
        </a:scene3d>
        <a:sp3d prstMaterial="matte">
          <a:contourClr>
            <a:schemeClr val="accent1">
              <a:shade val="70000"/>
              <a:satMod val="105000"/>
            </a:schemeClr>
          </a:contourClr>
        </a:sp3d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 Slide text 1 + item horizontal">
  <a:themeElements>
    <a:clrScheme name=" Slide text 1 + item horizontal 3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F2D0C2"/>
      </a:accent2>
      <a:accent3>
        <a:srgbClr val="FFFFFF"/>
      </a:accent3>
      <a:accent4>
        <a:srgbClr val="000000"/>
      </a:accent4>
      <a:accent5>
        <a:srgbClr val="DDABAB"/>
      </a:accent5>
      <a:accent6>
        <a:srgbClr val="DBBCB0"/>
      </a:accent6>
      <a:hlink>
        <a:srgbClr val="E9B09A"/>
      </a:hlink>
      <a:folHlink>
        <a:srgbClr val="6F7072"/>
      </a:folHlink>
    </a:clrScheme>
    <a:fontScheme name=" Slide text 1 + item horizontal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 Slide text 1 + item horizontal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Slide text 1 + item horizontal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Slide text 1 + item horizontal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3_Generic slide: 1 column">
  <a:themeElements>
    <a:clrScheme name="Generic slide: 1 column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1_Generic slide: 1 column">
      <a:majorFont>
        <a:latin typeface="Arial"/>
        <a:ea typeface=""/>
        <a:cs typeface="Arial Italic"/>
      </a:majorFont>
      <a:minorFont>
        <a:latin typeface="Arial"/>
        <a:ea typeface=""/>
        <a:cs typeface="Arial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Generic slide: 1 column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neric slide: 1 column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Slide text big bullet + item horizontal">
  <a:themeElements>
    <a:clrScheme name="Slide text big bullet + item horizontal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text big bullet + item horizontal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text big bullet + item horizontal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ext big bullet + item horizontal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ext big bullet + item horizontal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 Slide item + text horizontal">
  <a:themeElements>
    <a:clrScheme name=" Slide item + text horizontal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 Slide item + text horizontal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 Slide item + text horizontal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Slide item + text horizontal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Slide item + text horizontal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 Slide Table + text big bullet horizontal">
  <a:themeElements>
    <a:clrScheme name=" Slide Table + text big bullet horizontal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 Slide Table + text big bullet horizontal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 Slide Table + text big bullet horizontal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Slide Table + text big bullet horizontal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 Slide Table + text big bullet horizontal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Slide text + item vertical">
  <a:themeElements>
    <a:clrScheme name="Slide text + item vertical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text + item vertical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text + item vertical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ext + item vertical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ext + item vertical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lide Timeline">
  <a:themeElements>
    <a:clrScheme name="Slide Timeline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Timeline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Timeline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imeline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imeline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Slide Highlights">
  <a:themeElements>
    <a:clrScheme name="Slide Highlights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Highlights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Highlights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Highlights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Highlights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Slide Team Contacts">
  <a:themeElements>
    <a:clrScheme name="Slide Team Contacts 1">
      <a:dk1>
        <a:srgbClr val="000000"/>
      </a:dk1>
      <a:lt1>
        <a:srgbClr val="FFFFFF"/>
      </a:lt1>
      <a:dk2>
        <a:srgbClr val="C21B17"/>
      </a:dk2>
      <a:lt2>
        <a:srgbClr val="FEEEE6"/>
      </a:lt2>
      <a:accent1>
        <a:srgbClr val="C21B17"/>
      </a:accent1>
      <a:accent2>
        <a:srgbClr val="C25439"/>
      </a:accent2>
      <a:accent3>
        <a:srgbClr val="FFFFFF"/>
      </a:accent3>
      <a:accent4>
        <a:srgbClr val="000000"/>
      </a:accent4>
      <a:accent5>
        <a:srgbClr val="DDABAB"/>
      </a:accent5>
      <a:accent6>
        <a:srgbClr val="B04B33"/>
      </a:accent6>
      <a:hlink>
        <a:srgbClr val="E9B09A"/>
      </a:hlink>
      <a:folHlink>
        <a:srgbClr val="B0B2B3"/>
      </a:folHlink>
    </a:clrScheme>
    <a:fontScheme name="Slide Team Contacts">
      <a:majorFont>
        <a:latin typeface="Arial"/>
        <a:ea typeface="Arial Italic"/>
        <a:cs typeface="Arial"/>
      </a:majorFont>
      <a:minorFont>
        <a:latin typeface="Arial"/>
        <a:ea typeface="Arial Regular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 Team Contacts 1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B0B2B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eam Contacts 2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C25439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B04B33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 Team Contacts 3">
        <a:dk1>
          <a:srgbClr val="000000"/>
        </a:dk1>
        <a:lt1>
          <a:srgbClr val="FFFFFF"/>
        </a:lt1>
        <a:dk2>
          <a:srgbClr val="C21B17"/>
        </a:dk2>
        <a:lt2>
          <a:srgbClr val="FEEEE6"/>
        </a:lt2>
        <a:accent1>
          <a:srgbClr val="C21B17"/>
        </a:accent1>
        <a:accent2>
          <a:srgbClr val="F2D0C2"/>
        </a:accent2>
        <a:accent3>
          <a:srgbClr val="FFFFFF"/>
        </a:accent3>
        <a:accent4>
          <a:srgbClr val="000000"/>
        </a:accent4>
        <a:accent5>
          <a:srgbClr val="DDABAB"/>
        </a:accent5>
        <a:accent6>
          <a:srgbClr val="DBBCB0"/>
        </a:accent6>
        <a:hlink>
          <a:srgbClr val="E9B09A"/>
        </a:hlink>
        <a:folHlink>
          <a:srgbClr val="6F707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0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1.xml><?xml version="1.0" encoding="utf-8"?>
<a:themeOverride xmlns:a="http://schemas.openxmlformats.org/drawingml/2006/main">
  <a:clrScheme name="Agenda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2.xml><?xml version="1.0" encoding="utf-8"?>
<a:themeOverride xmlns:a="http://schemas.openxmlformats.org/drawingml/2006/main">
  <a:clrScheme name="Divider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3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4.xml><?xml version="1.0" encoding="utf-8"?>
<a:themeOverride xmlns:a="http://schemas.openxmlformats.org/drawingml/2006/main">
  <a:clrScheme name="Agenda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5.xml><?xml version="1.0" encoding="utf-8"?>
<a:themeOverride xmlns:a="http://schemas.openxmlformats.org/drawingml/2006/main">
  <a:clrScheme name="Divider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16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2.xml><?xml version="1.0" encoding="utf-8"?>
<a:themeOverride xmlns:a="http://schemas.openxmlformats.org/drawingml/2006/main">
  <a:clrScheme name="Agenda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3.xml><?xml version="1.0" encoding="utf-8"?>
<a:themeOverride xmlns:a="http://schemas.openxmlformats.org/drawingml/2006/main">
  <a:clrScheme name="Divider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4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5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6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7.xml><?xml version="1.0" encoding="utf-8"?>
<a:themeOverride xmlns:a="http://schemas.openxmlformats.org/drawingml/2006/main">
  <a:clrScheme name="Agenda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8.xml><?xml version="1.0" encoding="utf-8"?>
<a:themeOverride xmlns:a="http://schemas.openxmlformats.org/drawingml/2006/main">
  <a:clrScheme name="Divider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ppt/theme/themeOverride9.xml><?xml version="1.0" encoding="utf-8"?>
<a:themeOverride xmlns:a="http://schemas.openxmlformats.org/drawingml/2006/main">
  <a:clrScheme name="Cover 02 - white 1">
    <a:dk1>
      <a:srgbClr val="000000"/>
    </a:dk1>
    <a:lt1>
      <a:srgbClr val="FFFFFF"/>
    </a:lt1>
    <a:dk2>
      <a:srgbClr val="C21B17"/>
    </a:dk2>
    <a:lt2>
      <a:srgbClr val="FEEEE6"/>
    </a:lt2>
    <a:accent1>
      <a:srgbClr val="C21B17"/>
    </a:accent1>
    <a:accent2>
      <a:srgbClr val="C25439"/>
    </a:accent2>
    <a:accent3>
      <a:srgbClr val="FFFFFF"/>
    </a:accent3>
    <a:accent4>
      <a:srgbClr val="000000"/>
    </a:accent4>
    <a:accent5>
      <a:srgbClr val="DDABAB"/>
    </a:accent5>
    <a:accent6>
      <a:srgbClr val="B04B33"/>
    </a:accent6>
    <a:hlink>
      <a:srgbClr val="E9B09A"/>
    </a:hlink>
    <a:folHlink>
      <a:srgbClr val="B0B2B3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04_G_PPT_2003_light</Template>
  <TotalTime>14559</TotalTime>
  <Words>1025</Words>
  <Application>Microsoft Office PowerPoint</Application>
  <PresentationFormat>Ευρεία οθόνη</PresentationFormat>
  <Paragraphs>189</Paragraphs>
  <Slides>17</Slides>
  <Notes>8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9</vt:i4>
      </vt:variant>
      <vt:variant>
        <vt:lpstr>Θέμα</vt:lpstr>
      </vt:variant>
      <vt:variant>
        <vt:i4>20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7</vt:i4>
      </vt:variant>
    </vt:vector>
  </HeadingPairs>
  <TitlesOfParts>
    <vt:vector size="47" baseType="lpstr">
      <vt:lpstr>Arial</vt:lpstr>
      <vt:lpstr>Arial</vt:lpstr>
      <vt:lpstr>Arial Regular</vt:lpstr>
      <vt:lpstr>Arial Unicode MS</vt:lpstr>
      <vt:lpstr>Calibri</vt:lpstr>
      <vt:lpstr>Century Gothic</vt:lpstr>
      <vt:lpstr>Lucida Grande</vt:lpstr>
      <vt:lpstr>Symbol</vt:lpstr>
      <vt:lpstr>Wingdings</vt:lpstr>
      <vt:lpstr>3_Custom Design</vt:lpstr>
      <vt:lpstr> Slide text 1 + item horizontal</vt:lpstr>
      <vt:lpstr>Slide text big bullet + item horizontal</vt:lpstr>
      <vt:lpstr> Slide item + text horizontal</vt:lpstr>
      <vt:lpstr> Slide Table + text big bullet horizontal</vt:lpstr>
      <vt:lpstr>Slide text + item vertical</vt:lpstr>
      <vt:lpstr>Slide Timeline</vt:lpstr>
      <vt:lpstr>Slide Highlights</vt:lpstr>
      <vt:lpstr>Slide Team Contacts</vt:lpstr>
      <vt:lpstr>Slide Next steps</vt:lpstr>
      <vt:lpstr>Slide chart + Numeric Highlights</vt:lpstr>
      <vt:lpstr>Slide Closure</vt:lpstr>
      <vt:lpstr>2_Custom Design</vt:lpstr>
      <vt:lpstr>Slide Back-Up</vt:lpstr>
      <vt:lpstr>1_Generic slide: 1 column</vt:lpstr>
      <vt:lpstr>1_Slide Closure</vt:lpstr>
      <vt:lpstr>2_Generic slide: 1 column</vt:lpstr>
      <vt:lpstr>4_Generic slide: 1 column</vt:lpstr>
      <vt:lpstr>04_Generali_Light_DEF</vt:lpstr>
      <vt:lpstr>3_Generic slide: 1 column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Υπηρεσίες – Generali Privilege System, GPS  </vt:lpstr>
      <vt:lpstr>Παρουσίαση του PowerPoint</vt:lpstr>
      <vt:lpstr>Παρουσίαση του PowerPoint</vt:lpstr>
      <vt:lpstr>Παρουσίαση του PowerPoint</vt:lpstr>
      <vt:lpstr>Επείγοντα Περιστατικά (24/7)</vt:lpstr>
      <vt:lpstr>Νοσηλεία*</vt:lpstr>
      <vt:lpstr>Εξωτερικά Τακτικά Ιατρεία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Life Sales Dept</dc:title>
  <dc:creator>Maria Lampropoulou</dc:creator>
  <cp:lastModifiedBy>Kostas Nikolaou</cp:lastModifiedBy>
  <cp:revision>1213</cp:revision>
  <cp:lastPrinted>2018-07-04T06:32:02Z</cp:lastPrinted>
  <dcterms:created xsi:type="dcterms:W3CDTF">2014-05-08T15:04:00Z</dcterms:created>
  <dcterms:modified xsi:type="dcterms:W3CDTF">2024-01-19T08:4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0bae065-de11-4c72-a156-a48991d57a4f_Enabled">
    <vt:lpwstr>true</vt:lpwstr>
  </property>
  <property fmtid="{D5CDD505-2E9C-101B-9397-08002B2CF9AE}" pid="3" name="MSIP_Label_d0bae065-de11-4c72-a156-a48991d57a4f_SetDate">
    <vt:lpwstr>2021-10-05T13:25:02Z</vt:lpwstr>
  </property>
  <property fmtid="{D5CDD505-2E9C-101B-9397-08002B2CF9AE}" pid="4" name="MSIP_Label_d0bae065-de11-4c72-a156-a48991d57a4f_Method">
    <vt:lpwstr>Privileged</vt:lpwstr>
  </property>
  <property fmtid="{D5CDD505-2E9C-101B-9397-08002B2CF9AE}" pid="5" name="MSIP_Label_d0bae065-de11-4c72-a156-a48991d57a4f_Name">
    <vt:lpwstr>d0bae065-de11-4c72-a156-a48991d57a4f</vt:lpwstr>
  </property>
  <property fmtid="{D5CDD505-2E9C-101B-9397-08002B2CF9AE}" pid="6" name="MSIP_Label_d0bae065-de11-4c72-a156-a48991d57a4f_SiteId">
    <vt:lpwstr>699f77e6-eff6-41a9-b7e6-698fe9445e9a</vt:lpwstr>
  </property>
  <property fmtid="{D5CDD505-2E9C-101B-9397-08002B2CF9AE}" pid="7" name="MSIP_Label_d0bae065-de11-4c72-a156-a48991d57a4f_ActionId">
    <vt:lpwstr>2bd91c4d-7976-4dad-9169-c41da773c904</vt:lpwstr>
  </property>
  <property fmtid="{D5CDD505-2E9C-101B-9397-08002B2CF9AE}" pid="8" name="MSIP_Label_d0bae065-de11-4c72-a156-a48991d57a4f_ContentBits">
    <vt:lpwstr>2</vt:lpwstr>
  </property>
</Properties>
</file>